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5572" r:id="rId1"/>
  </p:sldMasterIdLst>
  <p:notesMasterIdLst>
    <p:notesMasterId r:id="rId14"/>
  </p:notesMasterIdLst>
  <p:handoutMasterIdLst>
    <p:handoutMasterId r:id="rId15"/>
  </p:handoutMasterIdLst>
  <p:sldIdLst>
    <p:sldId id="1151" r:id="rId2"/>
    <p:sldId id="1798" r:id="rId3"/>
    <p:sldId id="1800" r:id="rId4"/>
    <p:sldId id="1797" r:id="rId5"/>
    <p:sldId id="1799" r:id="rId6"/>
    <p:sldId id="257" r:id="rId7"/>
    <p:sldId id="258" r:id="rId8"/>
    <p:sldId id="260" r:id="rId9"/>
    <p:sldId id="1795" r:id="rId10"/>
    <p:sldId id="1794" r:id="rId11"/>
    <p:sldId id="262" r:id="rId12"/>
    <p:sldId id="278" r:id="rId13"/>
  </p:sldIdLst>
  <p:sldSz cx="13447713" cy="7564438"/>
  <p:notesSz cx="7099300" cy="10234613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77" userDrawn="1">
          <p15:clr>
            <a:srgbClr val="A4A3A4"/>
          </p15:clr>
        </p15:guide>
        <p15:guide id="2" pos="7774" userDrawn="1">
          <p15:clr>
            <a:srgbClr val="A4A3A4"/>
          </p15:clr>
        </p15:guide>
        <p15:guide id="3" pos="697" userDrawn="1">
          <p15:clr>
            <a:srgbClr val="A4A3A4"/>
          </p15:clr>
        </p15:guide>
        <p15:guide id="4" orient="horz" pos="976" userDrawn="1">
          <p15:clr>
            <a:srgbClr val="A4A3A4"/>
          </p15:clr>
        </p15:guide>
        <p15:guide id="5" orient="horz" pos="1339" userDrawn="1">
          <p15:clr>
            <a:srgbClr val="A4A3A4"/>
          </p15:clr>
        </p15:guide>
        <p15:guide id="6" orient="horz" pos="4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iederike Fanderl" initials="FF" lastIdx="27" clrIdx="0">
    <p:extLst>
      <p:ext uri="{19B8F6BF-5375-455C-9EA6-DF929625EA0E}">
        <p15:presenceInfo xmlns:p15="http://schemas.microsoft.com/office/powerpoint/2012/main" userId="455d4219b940d12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0F0F0"/>
    <a:srgbClr val="FFAA00"/>
    <a:srgbClr val="77981C"/>
    <a:srgbClr val="D98207"/>
    <a:srgbClr val="BFC4DB"/>
    <a:srgbClr val="83B818"/>
    <a:srgbClr val="215283"/>
    <a:srgbClr val="C8C8C8"/>
    <a:srgbClr val="800000"/>
    <a:srgbClr val="742E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85" autoAdjust="0"/>
    <p:restoredTop sz="75720" autoAdjust="0"/>
  </p:normalViewPr>
  <p:slideViewPr>
    <p:cSldViewPr snapToObjects="1">
      <p:cViewPr varScale="1">
        <p:scale>
          <a:sx n="42" d="100"/>
          <a:sy n="42" d="100"/>
        </p:scale>
        <p:origin x="1288" y="64"/>
      </p:cViewPr>
      <p:guideLst>
        <p:guide orient="horz" pos="477"/>
        <p:guide pos="7774"/>
        <p:guide pos="697"/>
        <p:guide orient="horz" pos="976"/>
        <p:guide orient="horz" pos="1339"/>
        <p:guide orient="horz" pos="44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53" d="100"/>
          <a:sy n="53" d="100"/>
        </p:scale>
        <p:origin x="-509" y="-67"/>
      </p:cViewPr>
      <p:guideLst>
        <p:guide orient="horz" pos="3223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4"/>
            <a:ext cx="3056013" cy="46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43290" y="4"/>
            <a:ext cx="3056012" cy="46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758758"/>
            <a:ext cx="3056013" cy="456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43290" y="9758758"/>
            <a:ext cx="3056012" cy="456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kumimoji="1" sz="11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2D22EC32-2739-4DEF-820F-5999E30CEFE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086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7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865" y="7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256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6250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424" y="4861447"/>
            <a:ext cx="5206457" cy="4607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722885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865" y="9722885"/>
            <a:ext cx="3076439" cy="51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28" tIns="46462" rIns="92928" bIns="46462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100">
                <a:latin typeface="Arial" charset="0"/>
              </a:defRPr>
            </a:lvl1pPr>
          </a:lstStyle>
          <a:p>
            <a:pPr>
              <a:defRPr/>
            </a:pPr>
            <a:fld id="{9DE218F7-38B2-4B3C-8BAF-BFF9DF9FAEE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32244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7"/>
          <p:cNvSpPr txBox="1">
            <a:spLocks noGrp="1" noChangeArrowheads="1"/>
          </p:cNvSpPr>
          <p:nvPr/>
        </p:nvSpPr>
        <p:spPr bwMode="auto">
          <a:xfrm>
            <a:off x="4022444" y="9725516"/>
            <a:ext cx="3076859" cy="509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017" tIns="47008" rIns="94017" bIns="47008" anchor="b"/>
          <a:lstStyle>
            <a:lvl1pPr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876300">
              <a:defRPr kumimoji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defTabSz="876300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r">
              <a:lnSpc>
                <a:spcPct val="100000"/>
              </a:lnSpc>
            </a:pPr>
            <a:fld id="{4C95FA1C-1E92-4AE9-B3D2-C8BE50143C14}" type="slidenum">
              <a:rPr kumimoji="0" lang="en-US" altLang="de-DE" sz="1200" smtClean="0">
                <a:solidFill>
                  <a:schemeClr val="tx1"/>
                </a:solidFill>
              </a:rPr>
              <a:pPr algn="r">
                <a:lnSpc>
                  <a:spcPct val="100000"/>
                </a:lnSpc>
              </a:pPr>
              <a:t>1</a:t>
            </a:fld>
            <a:endParaRPr kumimoji="0" lang="en-US" altLang="de-DE" sz="1200" dirty="0">
              <a:solidFill>
                <a:schemeClr val="tx1"/>
              </a:solidFill>
            </a:endParaRPr>
          </a:p>
        </p:txBody>
      </p:sp>
      <p:sp>
        <p:nvSpPr>
          <p:cNvPr id="2365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6725" cy="3835400"/>
          </a:xfrm>
          <a:ln/>
        </p:spPr>
      </p:sp>
      <p:sp>
        <p:nvSpPr>
          <p:cNvPr id="2365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727" y="4861561"/>
            <a:ext cx="5205848" cy="460581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017" tIns="47008" rIns="94017" bIns="47008"/>
          <a:lstStyle/>
          <a:p>
            <a:pPr marL="0" indent="0">
              <a:buFontTx/>
              <a:buNone/>
            </a:pPr>
            <a:endParaRPr lang="en-US" altLang="de-DE" noProof="0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16130" indent="-275434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0173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42433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198312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42382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86451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30521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74590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53B0D58E-B2D5-4356-863F-78FD6C62F129}" type="slidenum">
              <a:rPr kumimoji="0" lang="en-US" altLang="de-DE" smtClean="0"/>
              <a:pPr/>
              <a:t>10</a:t>
            </a:fld>
            <a:endParaRPr kumimoji="0" lang="en-US" altLang="de-DE" dirty="0"/>
          </a:p>
        </p:txBody>
      </p:sp>
      <p:sp>
        <p:nvSpPr>
          <p:cNvPr id="86019" name="Rectangle 7"/>
          <p:cNvSpPr txBox="1">
            <a:spLocks noGrp="1" noChangeArrowheads="1"/>
          </p:cNvSpPr>
          <p:nvPr/>
        </p:nvSpPr>
        <p:spPr bwMode="auto">
          <a:xfrm>
            <a:off x="5386000" y="6106604"/>
            <a:ext cx="4118610" cy="32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 anchor="b"/>
          <a:lstStyle>
            <a:lvl1pPr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77F07B38-0285-4A0C-944D-9271403681BF}" type="slidenum">
              <a:rPr kumimoji="0" lang="en-US" altLang="de-DE" sz="1200"/>
              <a:pPr algn="r"/>
              <a:t>10</a:t>
            </a:fld>
            <a:endParaRPr kumimoji="0" lang="en-US" altLang="de-DE" sz="1200" dirty="0"/>
          </a:p>
        </p:txBody>
      </p:sp>
      <p:sp>
        <p:nvSpPr>
          <p:cNvPr id="860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2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86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16130" indent="-275434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0173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42433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1983128" indent="-220348" defTabSz="884451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42382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86451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305213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745908" indent="-220348" defTabSz="884451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028DD981-2E64-4A30-99B2-D6E1C5639827}" type="slidenum">
              <a:rPr kumimoji="0" lang="en-US" altLang="de-DE" smtClean="0"/>
              <a:pPr/>
              <a:t>11</a:t>
            </a:fld>
            <a:endParaRPr kumimoji="0" lang="en-US" altLang="de-DE" dirty="0"/>
          </a:p>
        </p:txBody>
      </p:sp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5386000" y="6106604"/>
            <a:ext cx="4118610" cy="32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 anchor="b"/>
          <a:lstStyle>
            <a:lvl1pPr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7DAA9B39-B5D3-4377-8181-A6B96D188EAC}" type="slidenum">
              <a:rPr kumimoji="0" lang="en-US" altLang="de-DE" sz="1200"/>
              <a:pPr algn="r"/>
              <a:t>11</a:t>
            </a:fld>
            <a:endParaRPr kumimoji="0" lang="en-US" altLang="de-DE" sz="1200" dirty="0"/>
          </a:p>
        </p:txBody>
      </p:sp>
      <p:sp>
        <p:nvSpPr>
          <p:cNvPr id="184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531" tIns="44265" rIns="88531" bIns="44265"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774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16130" indent="-275434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01738" indent="-220348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42433" indent="-220348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1983128" indent="-220348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423823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864518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305213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745908" indent="-22034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454534F7-905F-4FF4-9135-E1908E281CCB}" type="slidenum">
              <a:rPr kumimoji="0" lang="en-US" altLang="de-DE" smtClean="0">
                <a:solidFill>
                  <a:schemeClr val="tx1"/>
                </a:solidFill>
              </a:rPr>
              <a:pPr/>
              <a:t>12</a:t>
            </a:fld>
            <a:endParaRPr kumimoji="0" lang="en-US" altLang="de-DE" dirty="0">
              <a:solidFill>
                <a:schemeClr val="tx1"/>
              </a:solidFill>
            </a:endParaRPr>
          </a:p>
        </p:txBody>
      </p:sp>
      <p:sp>
        <p:nvSpPr>
          <p:cNvPr id="51203" name="Rectangle 7"/>
          <p:cNvSpPr txBox="1">
            <a:spLocks noGrp="1" noChangeArrowheads="1"/>
          </p:cNvSpPr>
          <p:nvPr/>
        </p:nvSpPr>
        <p:spPr bwMode="auto">
          <a:xfrm>
            <a:off x="5749504" y="6035391"/>
            <a:ext cx="4397727" cy="317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49" tIns="44124" rIns="88249" bIns="44124" anchor="b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4B040B93-6384-4F71-A181-F42E891ADB0A}" type="slidenum">
              <a:rPr kumimoji="0" lang="en-US" altLang="de-DE" sz="1200"/>
              <a:pPr algn="r"/>
              <a:t>12</a:t>
            </a:fld>
            <a:endParaRPr kumimoji="0" lang="en-US" altLang="de-DE" sz="1200" dirty="0"/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663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6" name="Rectangle 103"/>
          <p:cNvSpPr>
            <a:spLocks noGrp="1" noChangeArrowheads="1"/>
          </p:cNvSpPr>
          <p:nvPr>
            <p:ph idx="1"/>
          </p:nvPr>
        </p:nvSpPr>
        <p:spPr bwMode="auto">
          <a:xfrm>
            <a:off x="1120312" y="1605605"/>
            <a:ext cx="11187123" cy="27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endParaRPr lang="de-DE" altLang="en-US" noProof="0" dirty="0"/>
          </a:p>
        </p:txBody>
      </p:sp>
      <p:sp>
        <p:nvSpPr>
          <p:cNvPr id="4" name="Rectangle 4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F5E1A9-08E9-4FE6-9F16-6E7C3EEC96BE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1120311" y="7130973"/>
            <a:ext cx="10570929" cy="230832"/>
          </a:xfrm>
          <a:noFill/>
        </p:spPr>
        <p:txBody>
          <a:bodyPr wrap="square" rtlCol="0" anchor="b">
            <a:spAutoFit/>
          </a:bodyPr>
          <a:lstStyle>
            <a:lvl1pPr>
              <a:defRPr lang="de-DE" sz="900" kern="1200" dirty="0" smtClean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>
              <a:def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998065433"/>
      </p:ext>
    </p:extLst>
  </p:cSld>
  <p:clrMapOvr>
    <a:masterClrMapping/>
  </p:clrMapOvr>
  <p:transition>
    <p:cut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/>
          </a:p>
        </p:txBody>
      </p:sp>
      <p:sp>
        <p:nvSpPr>
          <p:cNvPr id="5" name="Rectangle 103"/>
          <p:cNvSpPr>
            <a:spLocks noGrp="1" noChangeArrowheads="1"/>
          </p:cNvSpPr>
          <p:nvPr>
            <p:ph idx="1"/>
          </p:nvPr>
        </p:nvSpPr>
        <p:spPr bwMode="auto">
          <a:xfrm>
            <a:off x="1120312" y="1605604"/>
            <a:ext cx="11187123" cy="273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>
              <a:defRPr/>
            </a:pPr>
            <a:endParaRPr lang="de-DE"/>
          </a:p>
        </p:txBody>
      </p:sp>
      <p:sp>
        <p:nvSpPr>
          <p:cNvPr id="6" name="Rectangle 485"/>
          <p:cNvSpPr>
            <a:spLocks noGrp="1" noChangeArrowheads="1"/>
          </p:cNvSpPr>
          <p:nvPr>
            <p:ph type="sldNum" sz="quarter" idx="10"/>
          </p:nvPr>
        </p:nvSpPr>
        <p:spPr bwMode="auto"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F5E1A9-08E9-4FE6-9F16-6E7C3EEC96BE}" type="slidenum">
              <a:rPr lang="de-DE">
                <a:solidFill>
                  <a:srgbClr val="000000"/>
                </a:solidFill>
              </a:r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 bwMode="auto">
          <a:xfrm>
            <a:off x="1120311" y="2081460"/>
            <a:ext cx="11187123" cy="4689228"/>
          </a:xfrm>
        </p:spPr>
        <p:txBody>
          <a:bodyPr/>
          <a:lstStyle>
            <a:lvl1pPr>
              <a:defRPr b="1"/>
            </a:lvl1pPr>
            <a:lvl2pPr marL="360363" indent="-268288">
              <a:defRPr sz="1800" b="0"/>
            </a:lvl2pPr>
            <a:lvl3pPr marL="715963" indent="-287338">
              <a:defRPr sz="1600"/>
            </a:lvl3pPr>
            <a:lvl4pPr marL="985838" indent="-269875">
              <a:defRPr sz="1400"/>
            </a:lvl4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20311" y="7130973"/>
            <a:ext cx="10570929" cy="230832"/>
          </a:xfrm>
          <a:noFill/>
        </p:spPr>
        <p:txBody>
          <a:bodyPr wrap="square" rtlCol="0" anchor="b">
            <a:spAutoFit/>
          </a:bodyPr>
          <a:lstStyle>
            <a:lvl1pPr>
              <a:defRPr lang="de-DE" sz="900" kern="1200" dirty="0" smtClean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>
              <a:defRPr lang="de-DE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>
              <a:def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14579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94059416"/>
              </p:ext>
            </p:extLst>
          </p:nvPr>
        </p:nvGraphicFramePr>
        <p:xfrm>
          <a:off x="2004" y="1598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Folie" r:id="rId7" imgW="216" imgH="216" progId="TCLayout.ActiveDocument.1">
                  <p:embed/>
                </p:oleObj>
              </mc:Choice>
              <mc:Fallback>
                <p:oleObj name="think-cell Foli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598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BC66C5D-C02F-3F41-B9FD-4FDCDFB50457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9342" y="-105291"/>
            <a:ext cx="65" cy="369332"/>
          </a:xfrm>
          <a:prstGeom prst="rect">
            <a:avLst/>
          </a:prstGeom>
          <a:solidFill>
            <a:srgbClr val="FFFF99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101"/>
          <p:cNvSpPr>
            <a:spLocks noGrp="1" noChangeArrowheads="1"/>
          </p:cNvSpPr>
          <p:nvPr>
            <p:ph type="title"/>
          </p:nvPr>
        </p:nvSpPr>
        <p:spPr bwMode="auto">
          <a:xfrm>
            <a:off x="1120312" y="793750"/>
            <a:ext cx="11187123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dirty="0"/>
              <a:t>Mastertitelformat bearbeiten</a:t>
            </a:r>
          </a:p>
        </p:txBody>
      </p:sp>
      <p:sp>
        <p:nvSpPr>
          <p:cNvPr id="1027" name="Rectangle 10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0312" y="1604973"/>
            <a:ext cx="1118712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altLang="en-US" dirty="0"/>
          </a:p>
        </p:txBody>
      </p:sp>
      <p:sp>
        <p:nvSpPr>
          <p:cNvPr id="2533" name="Rectangle 48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131708" y="7194553"/>
            <a:ext cx="497249" cy="1412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eaLnBrk="0" hangingPunct="0">
              <a:lnSpc>
                <a:spcPts val="1200"/>
              </a:lnSpc>
              <a:spcBef>
                <a:spcPts val="113"/>
              </a:spcBef>
              <a:defRPr sz="9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51722B6-440C-4490-900E-CACF9299E57F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29" name="Line 487"/>
          <p:cNvSpPr>
            <a:spLocks noChangeShapeType="1"/>
          </p:cNvSpPr>
          <p:nvPr/>
        </p:nvSpPr>
        <p:spPr bwMode="auto">
          <a:xfrm>
            <a:off x="12051821" y="7210435"/>
            <a:ext cx="0" cy="136525"/>
          </a:xfrm>
          <a:prstGeom prst="line">
            <a:avLst/>
          </a:prstGeom>
          <a:noFill/>
          <a:ln w="9525">
            <a:solidFill>
              <a:srgbClr val="172F3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de-DE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2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4" r:id="rId1"/>
    <p:sldLayoutId id="2147485575" r:id="rId2"/>
  </p:sldLayoutIdLst>
  <p:transition>
    <p:cut/>
  </p:transition>
  <p:hf hdr="0" ftr="0" dt="0"/>
  <p:txStyles>
    <p:titleStyle>
      <a:lvl1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+mj-lt"/>
          <a:ea typeface="+mj-ea"/>
          <a:cs typeface="+mj-cs"/>
        </a:defRPr>
      </a:lvl1pPr>
      <a:lvl2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2pPr>
      <a:lvl3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3pPr>
      <a:lvl4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4pPr>
      <a:lvl5pPr algn="l" defTabSz="994359" rtl="0" eaLnBrk="0" fontAlgn="base" hangingPunct="0">
        <a:lnSpc>
          <a:spcPts val="2400"/>
        </a:lnSpc>
        <a:spcBef>
          <a:spcPts val="3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5pPr>
      <a:lvl6pPr marL="456740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6pPr>
      <a:lvl7pPr marL="913476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7pPr>
      <a:lvl8pPr marL="1370217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8pPr>
      <a:lvl9pPr marL="1826955" algn="l" defTabSz="994359" rtl="0" eaLnBrk="0" fontAlgn="base" hangingPunct="0">
        <a:lnSpc>
          <a:spcPts val="2400"/>
        </a:lnSpc>
        <a:spcBef>
          <a:spcPts val="1800"/>
        </a:spcBef>
        <a:spcAft>
          <a:spcPct val="0"/>
        </a:spcAft>
        <a:defRPr kumimoji="1" sz="2400" b="1">
          <a:solidFill>
            <a:srgbClr val="000000"/>
          </a:solidFill>
          <a:latin typeface="Arial" charset="0"/>
        </a:defRPr>
      </a:lvl9pPr>
    </p:titleStyle>
    <p:bodyStyle>
      <a:lvl1pPr algn="l" defTabSz="358413" rtl="0" eaLnBrk="0" fontAlgn="base" hangingPunct="0">
        <a:lnSpc>
          <a:spcPts val="1800"/>
        </a:lnSpc>
        <a:spcBef>
          <a:spcPts val="300"/>
        </a:spcBef>
        <a:spcAft>
          <a:spcPct val="0"/>
        </a:spcAft>
        <a:defRPr kumimoji="1">
          <a:solidFill>
            <a:srgbClr val="000000"/>
          </a:solidFill>
          <a:latin typeface="+mn-lt"/>
          <a:ea typeface="+mn-ea"/>
          <a:cs typeface="+mn-cs"/>
        </a:defRPr>
      </a:lvl1pPr>
      <a:lvl2pPr marL="426608" indent="-425020" algn="l" defTabSz="358413" rtl="0" eaLnBrk="0" fontAlgn="base" hangingPunct="0">
        <a:spcBef>
          <a:spcPct val="0"/>
        </a:spcBef>
        <a:spcAft>
          <a:spcPct val="0"/>
        </a:spcAft>
        <a:buChar char="•"/>
        <a:defRPr kumimoji="1" sz="1500">
          <a:solidFill>
            <a:srgbClr val="000000"/>
          </a:solidFill>
          <a:latin typeface="+mn-lt"/>
        </a:defRPr>
      </a:lvl2pPr>
      <a:lvl3pPr marL="908720" indent="-480527" algn="l" defTabSz="358413" rtl="0" eaLnBrk="0" fontAlgn="base" hangingPunct="0">
        <a:spcBef>
          <a:spcPct val="0"/>
        </a:spcBef>
        <a:spcAft>
          <a:spcPct val="0"/>
        </a:spcAft>
        <a:buChar char="–"/>
        <a:defRPr kumimoji="1" sz="1500">
          <a:solidFill>
            <a:srgbClr val="000000"/>
          </a:solidFill>
          <a:latin typeface="+mn-lt"/>
        </a:defRPr>
      </a:lvl3pPr>
      <a:lvl4pPr marL="1348014" indent="-437709" algn="l" defTabSz="358413" rtl="0" eaLnBrk="0" fontAlgn="base" hangingPunct="0">
        <a:lnSpc>
          <a:spcPts val="1800"/>
        </a:lnSpc>
        <a:spcBef>
          <a:spcPts val="400"/>
        </a:spcBef>
        <a:spcAft>
          <a:spcPct val="0"/>
        </a:spcAft>
        <a:buChar char="-"/>
        <a:defRPr kumimoji="1" sz="2100">
          <a:solidFill>
            <a:srgbClr val="000000"/>
          </a:solidFill>
          <a:latin typeface="+mn-lt"/>
        </a:defRPr>
      </a:lvl4pPr>
      <a:lvl5pPr marL="2854619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buChar char="»"/>
        <a:defRPr kumimoji="1" sz="1500" b="1">
          <a:solidFill>
            <a:srgbClr val="000000"/>
          </a:solidFill>
          <a:latin typeface="+mn-lt"/>
        </a:defRPr>
      </a:lvl5pPr>
      <a:lvl6pPr marL="3311360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6pPr>
      <a:lvl7pPr marL="3768098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7pPr>
      <a:lvl8pPr marL="4224838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8pPr>
      <a:lvl9pPr marL="4681573" indent="3175" algn="ctr" defTabSz="358413" rtl="0" eaLnBrk="0" fontAlgn="base" hangingPunct="0">
        <a:lnSpc>
          <a:spcPts val="1736"/>
        </a:lnSpc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40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76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17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55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96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436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173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911" algn="l" defTabSz="9134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529E76-B35E-4BE5-BB02-BE86DF1FE7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565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Folie" r:id="rId5" imgW="451" imgH="450" progId="TCLayout.ActiveDocument.1">
                  <p:embed/>
                </p:oleObj>
              </mc:Choice>
              <mc:Fallback>
                <p:oleObj name="think-cell Foli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Rectangle 2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6487" y="757238"/>
            <a:ext cx="11234737" cy="5257799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wrap="none" lIns="0" tIns="0" rIns="0" bIns="0" anchor="ctr"/>
          <a:lstStyle>
            <a:lvl1pPr>
              <a:defRPr kumimoji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l"/>
            <a:endParaRPr lang="en-US" altLang="de-DE" dirty="0"/>
          </a:p>
        </p:txBody>
      </p:sp>
      <p:sp>
        <p:nvSpPr>
          <p:cNvPr id="11269" name="Rectangle 21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550113" y="2125663"/>
            <a:ext cx="10366132" cy="359073"/>
          </a:xfrm>
          <a:prstGeom prst="rect">
            <a:avLst/>
          </a:prstGeom>
          <a:noFill/>
          <a:ln>
            <a:noFill/>
            <a:prstDash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358775">
              <a:spcBef>
                <a:spcPts val="400"/>
              </a:spcBef>
              <a:defRPr kumimoji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algn="l" defTabSz="358775">
              <a:buChar char="•"/>
              <a:defRPr kumimoji="1" sz="15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algn="l" defTabSz="358775">
              <a:buChar char="–"/>
              <a:defRPr kumimoji="1" sz="1500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algn="l" defTabSz="358775"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marL="0" marR="0" lvl="0" indent="0" algn="l" defTabSz="358775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Slide template for distribution to students</a:t>
            </a:r>
          </a:p>
        </p:txBody>
      </p:sp>
      <p:sp>
        <p:nvSpPr>
          <p:cNvPr id="2" name="Rechteck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828314" y="7089941"/>
            <a:ext cx="326257" cy="369332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>
            <a:spAutoFit/>
          </a:bodyPr>
          <a:lstStyle/>
          <a:p>
            <a:pPr marL="190510" indent="-190510" algn="ctr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79D72B4-EE2E-405B-B13D-852D3C369A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83622A-5820-4253-9035-B790F6CB567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201D769-3154-43A9-B418-F57BA490CD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227476" y="6273800"/>
            <a:ext cx="11211954" cy="1222377"/>
            <a:chOff x="1227476" y="6273800"/>
            <a:chExt cx="11211954" cy="1222377"/>
          </a:xfrm>
        </p:grpSpPr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E6D66630-3A7C-4724-A18A-E6128615C62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028112" y="6273800"/>
              <a:ext cx="3219450" cy="514350"/>
            </a:xfrm>
            <a:prstGeom prst="rect">
              <a:avLst/>
            </a:prstGeom>
          </p:spPr>
        </p:pic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80C6ED-2A00-473F-9867-83CB761087A0}"/>
                </a:ext>
              </a:extLst>
            </p:cNvPr>
            <p:cNvGrpSpPr/>
            <p:nvPr/>
          </p:nvGrpSpPr>
          <p:grpSpPr>
            <a:xfrm>
              <a:off x="1227476" y="6304060"/>
              <a:ext cx="3912204" cy="615553"/>
              <a:chOff x="1227476" y="6304060"/>
              <a:chExt cx="3912204" cy="615553"/>
            </a:xfrm>
          </p:grpSpPr>
          <p:sp>
            <p:nvSpPr>
              <p:cNvPr id="66" name="Rectangle 186">
                <a:extLst>
                  <a:ext uri="{FF2B5EF4-FFF2-40B4-BE49-F238E27FC236}">
                    <a16:creationId xmlns:a16="http://schemas.microsoft.com/office/drawing/2014/main" id="{B57A9D90-9915-458B-8CAC-ED81B7C431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4895" y="6304060"/>
                <a:ext cx="3194785" cy="6155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358793">
                  <a:defRPr/>
                </a:pPr>
                <a:r>
                  <a:rPr lang="en-US" sz="1000" dirty="0">
                    <a:latin typeface="+mn-lt"/>
                    <a:cs typeface="Arial" pitchFamily="34" charset="0"/>
                  </a:rPr>
                  <a:t>Prof. Dr. Lorenz Graf-Vlachy</a:t>
                </a:r>
              </a:p>
              <a:p>
                <a:pPr defTabSz="358793">
                  <a:defRPr/>
                </a:pPr>
                <a:endParaRPr lang="en-US" sz="1000" dirty="0">
                  <a:latin typeface="+mn-lt"/>
                  <a:cs typeface="Arial" pitchFamily="34" charset="0"/>
                </a:endParaRPr>
              </a:p>
              <a:p>
                <a:pPr defTabSz="358793">
                  <a:defRPr/>
                </a:pPr>
                <a:r>
                  <a:rPr lang="en-US" sz="1000" dirty="0">
                    <a:latin typeface="+mn-lt"/>
                    <a:cs typeface="Arial" pitchFamily="34" charset="0"/>
                  </a:rPr>
                  <a:t>Professorship for Strategic Management and Leadership</a:t>
                </a:r>
              </a:p>
              <a:p>
                <a:pPr defTabSz="358793">
                  <a:defRPr/>
                </a:pPr>
                <a:r>
                  <a:rPr lang="en-US" sz="1000" dirty="0">
                    <a:latin typeface="+mn-lt"/>
                    <a:cs typeface="Arial" pitchFamily="34" charset="0"/>
                  </a:rPr>
                  <a:t>TU Dortmund University</a:t>
                </a:r>
                <a:endParaRPr lang="en-US" sz="1000" dirty="0">
                  <a:latin typeface="+mn-lt"/>
                </a:endParaRPr>
              </a:p>
            </p:txBody>
          </p:sp>
          <p:pic>
            <p:nvPicPr>
              <p:cNvPr id="67" name="Graphic 66">
                <a:extLst>
                  <a:ext uri="{FF2B5EF4-FFF2-40B4-BE49-F238E27FC236}">
                    <a16:creationId xmlns:a16="http://schemas.microsoft.com/office/drawing/2014/main" id="{60AF3A99-0B1E-4805-8DB3-0060F6BD7A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227476" y="6351275"/>
                <a:ext cx="521121" cy="521121"/>
              </a:xfrm>
              <a:prstGeom prst="rect">
                <a:avLst/>
              </a:prstGeom>
            </p:spPr>
          </p:pic>
        </p:grpSp>
        <p:sp>
          <p:nvSpPr>
            <p:cNvPr id="68" name="Rechteck 1">
              <a:extLst>
                <a:ext uri="{FF2B5EF4-FFF2-40B4-BE49-F238E27FC236}">
                  <a16:creationId xmlns:a16="http://schemas.microsoft.com/office/drawing/2014/main" id="{C86152BD-42B8-4C6B-8A8F-3F3E55CC72A7}"/>
                </a:ext>
              </a:extLst>
            </p:cNvPr>
            <p:cNvSpPr/>
            <p:nvPr/>
          </p:nvSpPr>
          <p:spPr bwMode="auto">
            <a:xfrm>
              <a:off x="11992841" y="7126845"/>
              <a:ext cx="446589" cy="369332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0" rIns="0" rtlCol="0" anchor="ctr">
              <a:spAutoFit/>
            </a:bodyPr>
            <a:lstStyle/>
            <a:p>
              <a:pPr marL="190510" indent="-190510"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4265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014EF9-3CFA-4D46-8EBB-FA443F39C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43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55" name="think-cell Folie" r:id="rId5" imgW="451" imgH="450" progId="TCLayout.ActiveDocument.1">
                  <p:embed/>
                </p:oleObj>
              </mc:Choice>
              <mc:Fallback>
                <p:oleObj name="think-cell Foli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his is an action title</a:t>
            </a:r>
            <a:endParaRPr lang="en-US" alt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86877C-C079-4C3C-BFE9-DBDA9B8BE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ome example content</a:t>
            </a:r>
            <a:endParaRPr lang="en-US" dirty="0"/>
          </a:p>
        </p:txBody>
      </p:sp>
      <p:sp>
        <p:nvSpPr>
          <p:cNvPr id="84994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5D55B0B5-09AE-45D3-BDA9-61E646E150DB}" type="slidenum">
              <a:rPr lang="en-US" altLang="en-US" smtClean="0"/>
              <a:pPr/>
              <a:t>10</a:t>
            </a:fld>
            <a:endParaRPr lang="en-US" alt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sp>
        <p:nvSpPr>
          <p:cNvPr id="84997" name="Rectangle 5"/>
          <p:cNvSpPr>
            <a:spLocks noChangeArrowheads="1"/>
          </p:cNvSpPr>
          <p:nvPr/>
        </p:nvSpPr>
        <p:spPr bwMode="auto">
          <a:xfrm>
            <a:off x="2363300" y="2456798"/>
            <a:ext cx="215026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b="1" dirty="0"/>
              <a:t>Type of company/</a:t>
            </a:r>
            <a:br>
              <a:rPr lang="en-US" altLang="en-US" b="1" dirty="0"/>
            </a:br>
            <a:r>
              <a:rPr lang="en-US" altLang="en-US" b="1" dirty="0"/>
              <a:t>level of analysis</a:t>
            </a:r>
            <a:endParaRPr lang="en-US" altLang="en-US" dirty="0"/>
          </a:p>
        </p:txBody>
      </p:sp>
      <p:sp>
        <p:nvSpPr>
          <p:cNvPr id="85000" name="Rectangle 8"/>
          <p:cNvSpPr>
            <a:spLocks noChangeArrowheads="1"/>
          </p:cNvSpPr>
          <p:nvPr/>
        </p:nvSpPr>
        <p:spPr bwMode="auto">
          <a:xfrm>
            <a:off x="5594086" y="6245867"/>
            <a:ext cx="98745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dirty="0"/>
              <a:t>Company</a:t>
            </a:r>
          </a:p>
        </p:txBody>
      </p:sp>
      <p:sp>
        <p:nvSpPr>
          <p:cNvPr id="85001" name="Rectangle 9"/>
          <p:cNvSpPr>
            <a:spLocks noChangeArrowheads="1"/>
          </p:cNvSpPr>
          <p:nvPr/>
        </p:nvSpPr>
        <p:spPr bwMode="auto">
          <a:xfrm>
            <a:off x="7766040" y="6245867"/>
            <a:ext cx="97462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/>
              <a:t>Individual</a:t>
            </a:r>
            <a:br>
              <a:rPr lang="en-US" altLang="en-US" dirty="0"/>
            </a:br>
            <a:r>
              <a:rPr lang="en-US" altLang="en-US" dirty="0"/>
              <a:t>manager</a:t>
            </a:r>
          </a:p>
        </p:txBody>
      </p:sp>
      <p:sp>
        <p:nvSpPr>
          <p:cNvPr id="85003" name="Rectangle 11"/>
          <p:cNvSpPr>
            <a:spLocks noChangeArrowheads="1"/>
          </p:cNvSpPr>
          <p:nvPr/>
        </p:nvSpPr>
        <p:spPr bwMode="auto">
          <a:xfrm>
            <a:off x="2735294" y="5092830"/>
            <a:ext cx="228267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dirty="0"/>
              <a:t>Single-business firm/</a:t>
            </a:r>
            <a:br>
              <a:rPr lang="en-US" altLang="en-US" dirty="0"/>
            </a:br>
            <a:r>
              <a:rPr lang="en-US" altLang="en-US" dirty="0"/>
              <a:t>strategic business unit</a:t>
            </a:r>
          </a:p>
        </p:txBody>
      </p:sp>
      <p:sp>
        <p:nvSpPr>
          <p:cNvPr id="85004" name="Rectangle 12"/>
          <p:cNvSpPr>
            <a:spLocks noChangeArrowheads="1"/>
          </p:cNvSpPr>
          <p:nvPr/>
        </p:nvSpPr>
        <p:spPr bwMode="auto">
          <a:xfrm>
            <a:off x="2889182" y="3537115"/>
            <a:ext cx="192360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dirty="0"/>
              <a:t>Multi-business firm</a:t>
            </a:r>
          </a:p>
        </p:txBody>
      </p:sp>
      <p:sp>
        <p:nvSpPr>
          <p:cNvPr id="85014" name="Rectangle 32"/>
          <p:cNvSpPr>
            <a:spLocks noChangeArrowheads="1"/>
          </p:cNvSpPr>
          <p:nvPr/>
        </p:nvSpPr>
        <p:spPr bwMode="auto">
          <a:xfrm>
            <a:off x="6715919" y="3062930"/>
            <a:ext cx="10096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rgbClr val="FFFFFF"/>
                </a:solidFill>
              </a:rPr>
              <a:t>Selective growth</a:t>
            </a:r>
          </a:p>
        </p:txBody>
      </p:sp>
      <p:sp>
        <p:nvSpPr>
          <p:cNvPr id="85016" name="Rectangle 34"/>
          <p:cNvSpPr>
            <a:spLocks noChangeArrowheads="1"/>
          </p:cNvSpPr>
          <p:nvPr/>
        </p:nvSpPr>
        <p:spPr bwMode="auto">
          <a:xfrm>
            <a:off x="8119269" y="4182117"/>
            <a:ext cx="10604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rgbClr val="FFFFFF"/>
                </a:solidFill>
              </a:rPr>
              <a:t>Selective growth</a:t>
            </a:r>
          </a:p>
        </p:txBody>
      </p:sp>
      <p:sp>
        <p:nvSpPr>
          <p:cNvPr id="85018" name="Rectangle 36"/>
          <p:cNvSpPr>
            <a:spLocks noChangeArrowheads="1"/>
          </p:cNvSpPr>
          <p:nvPr/>
        </p:nvSpPr>
        <p:spPr bwMode="auto">
          <a:xfrm>
            <a:off x="5407940" y="5049411"/>
            <a:ext cx="14255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/>
              <a:t>Strategic</a:t>
            </a:r>
            <a:br>
              <a:rPr lang="en-US" altLang="en-US" dirty="0"/>
            </a:br>
            <a:r>
              <a:rPr lang="en-US" altLang="en-US" dirty="0"/>
              <a:t>management</a:t>
            </a:r>
          </a:p>
        </p:txBody>
      </p:sp>
      <p:sp>
        <p:nvSpPr>
          <p:cNvPr id="85019" name="Rectangle 37"/>
          <p:cNvSpPr>
            <a:spLocks noChangeArrowheads="1"/>
          </p:cNvSpPr>
          <p:nvPr/>
        </p:nvSpPr>
        <p:spPr bwMode="auto">
          <a:xfrm>
            <a:off x="9937398" y="5899618"/>
            <a:ext cx="1366837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b="1" dirty="0"/>
              <a:t>Level of application</a:t>
            </a:r>
            <a:endParaRPr lang="en-US" altLang="en-US" dirty="0"/>
          </a:p>
          <a:p>
            <a:pPr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85020" name="Line 3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79207" y="2419992"/>
            <a:ext cx="0" cy="3671888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>
            <a:spAutoFit/>
          </a:bodyPr>
          <a:lstStyle/>
          <a:p>
            <a:endParaRPr lang="en-US" dirty="0"/>
          </a:p>
        </p:txBody>
      </p:sp>
      <p:sp>
        <p:nvSpPr>
          <p:cNvPr id="85021" name="Line 3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5079207" y="6091880"/>
            <a:ext cx="4578350" cy="0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>
            <a:spAutoFit/>
          </a:bodyPr>
          <a:lstStyle/>
          <a:p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DE871EA-AFE5-4419-A7CE-263AB21CF7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79206" y="2822502"/>
            <a:ext cx="4164923" cy="3269380"/>
            <a:chOff x="5079207" y="3467101"/>
            <a:chExt cx="2853530" cy="2239963"/>
          </a:xfrm>
        </p:grpSpPr>
        <p:sp>
          <p:nvSpPr>
            <p:cNvPr id="85006" name="Rectangle 15"/>
            <p:cNvSpPr>
              <a:spLocks noChangeArrowheads="1"/>
            </p:cNvSpPr>
            <p:nvPr/>
          </p:nvSpPr>
          <p:spPr bwMode="auto">
            <a:xfrm>
              <a:off x="5079207" y="4586289"/>
              <a:ext cx="1427162" cy="1120775"/>
            </a:xfrm>
            <a:prstGeom prst="rect">
              <a:avLst/>
            </a:prstGeom>
            <a:noFill/>
            <a:ln w="19050">
              <a:solidFill>
                <a:srgbClr val="7D9F3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ts val="1800"/>
                </a:lnSpc>
              </a:pPr>
              <a:endParaRPr lang="en-US" altLang="en-US" dirty="0"/>
            </a:p>
          </p:txBody>
        </p:sp>
        <p:sp>
          <p:nvSpPr>
            <p:cNvPr id="85011" name="Rectangle 29"/>
            <p:cNvSpPr>
              <a:spLocks noChangeArrowheads="1"/>
            </p:cNvSpPr>
            <p:nvPr/>
          </p:nvSpPr>
          <p:spPr bwMode="auto">
            <a:xfrm>
              <a:off x="5080795" y="3467101"/>
              <a:ext cx="1423986" cy="1119188"/>
            </a:xfrm>
            <a:prstGeom prst="rect">
              <a:avLst/>
            </a:prstGeom>
            <a:solidFill>
              <a:srgbClr val="7D9F3F"/>
            </a:solidFill>
            <a:ln w="19050">
              <a:solidFill>
                <a:srgbClr val="7D9F3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ts val="1800"/>
                </a:lnSpc>
              </a:pPr>
              <a:endParaRPr lang="en-US" altLang="en-US" dirty="0"/>
            </a:p>
          </p:txBody>
        </p:sp>
        <p:sp>
          <p:nvSpPr>
            <p:cNvPr id="43" name="Rectangle 29">
              <a:extLst>
                <a:ext uri="{FF2B5EF4-FFF2-40B4-BE49-F238E27FC236}">
                  <a16:creationId xmlns:a16="http://schemas.microsoft.com/office/drawing/2014/main" id="{9776F038-89FF-4FBA-A627-BB7509C524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751" y="4583908"/>
              <a:ext cx="1423986" cy="1119188"/>
            </a:xfrm>
            <a:prstGeom prst="rect">
              <a:avLst/>
            </a:prstGeom>
            <a:solidFill>
              <a:srgbClr val="7D9F3F"/>
            </a:solidFill>
            <a:ln w="19050">
              <a:solidFill>
                <a:srgbClr val="7D9F3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ts val="1800"/>
                </a:lnSpc>
              </a:pPr>
              <a:endParaRPr lang="en-US" altLang="en-US" dirty="0"/>
            </a:p>
          </p:txBody>
        </p:sp>
      </p:grpSp>
      <p:sp>
        <p:nvSpPr>
          <p:cNvPr id="41" name="Rectangle 36">
            <a:extLst>
              <a:ext uri="{FF2B5EF4-FFF2-40B4-BE49-F238E27FC236}">
                <a16:creationId xmlns:a16="http://schemas.microsoft.com/office/drawing/2014/main" id="{B39A0D72-F35C-4DD5-B245-D13ED9A6F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5024" y="3421699"/>
            <a:ext cx="14255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chemeClr val="bg1"/>
                </a:solidFill>
              </a:rPr>
              <a:t>Corporate strategy</a:t>
            </a:r>
          </a:p>
        </p:txBody>
      </p:sp>
      <p:sp>
        <p:nvSpPr>
          <p:cNvPr id="42" name="Rectangle 35">
            <a:extLst>
              <a:ext uri="{FF2B5EF4-FFF2-40B4-BE49-F238E27FC236}">
                <a16:creationId xmlns:a16="http://schemas.microsoft.com/office/drawing/2014/main" id="{0D4DD98C-3210-48B9-8E15-D76372DD27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2527" y="4793303"/>
            <a:ext cx="166712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dirty="0">
                <a:solidFill>
                  <a:schemeClr val="bg1"/>
                </a:solidFill>
              </a:rPr>
              <a:t>Managerial </a:t>
            </a:r>
            <a:br>
              <a:rPr lang="en-US" altLang="en-US" dirty="0">
                <a:solidFill>
                  <a:schemeClr val="bg1"/>
                </a:solidFill>
              </a:rPr>
            </a:br>
            <a:r>
              <a:rPr lang="en-US" altLang="en-US" dirty="0">
                <a:solidFill>
                  <a:schemeClr val="bg1"/>
                </a:solidFill>
              </a:rPr>
              <a:t>thinking </a:t>
            </a:r>
            <a:br>
              <a:rPr lang="en-US" altLang="en-US" dirty="0">
                <a:solidFill>
                  <a:schemeClr val="bg1"/>
                </a:solidFill>
              </a:rPr>
            </a:br>
            <a:r>
              <a:rPr lang="en-US" altLang="en-US" dirty="0">
                <a:solidFill>
                  <a:schemeClr val="bg1"/>
                </a:solidFill>
              </a:rPr>
              <a:t>and </a:t>
            </a:r>
            <a:br>
              <a:rPr lang="en-US" altLang="en-US" dirty="0">
                <a:solidFill>
                  <a:schemeClr val="bg1"/>
                </a:solidFill>
              </a:rPr>
            </a:br>
            <a:r>
              <a:rPr lang="en-US" altLang="en-US" dirty="0">
                <a:solidFill>
                  <a:schemeClr val="bg1"/>
                </a:solidFill>
              </a:rPr>
              <a:t>decision-making</a:t>
            </a:r>
          </a:p>
        </p:txBody>
      </p:sp>
      <p:sp>
        <p:nvSpPr>
          <p:cNvPr id="45" name="Freeform 65">
            <a:extLst>
              <a:ext uri="{FF2B5EF4-FFF2-40B4-BE49-F238E27FC236}">
                <a16:creationId xmlns:a16="http://schemas.microsoft.com/office/drawing/2014/main" id="{C51FDFEA-EC0D-48AD-BA53-982B6AF681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rot="16607271">
            <a:off x="7027940" y="2625632"/>
            <a:ext cx="234950" cy="696912"/>
          </a:xfrm>
          <a:custGeom>
            <a:avLst/>
            <a:gdLst>
              <a:gd name="T0" fmla="*/ 2147483646 w 21"/>
              <a:gd name="T1" fmla="*/ 2147483646 h 63"/>
              <a:gd name="T2" fmla="*/ 0 w 21"/>
              <a:gd name="T3" fmla="*/ 0 h 63"/>
              <a:gd name="T4" fmla="*/ 2147483646 w 21"/>
              <a:gd name="T5" fmla="*/ 2147483646 h 63"/>
              <a:gd name="T6" fmla="*/ 2147483646 w 21"/>
              <a:gd name="T7" fmla="*/ 2147483646 h 63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63"/>
              <a:gd name="T14" fmla="*/ 21 w 21"/>
              <a:gd name="T15" fmla="*/ 63 h 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63">
                <a:moveTo>
                  <a:pt x="11" y="63"/>
                </a:moveTo>
                <a:lnTo>
                  <a:pt x="0" y="0"/>
                </a:lnTo>
                <a:lnTo>
                  <a:pt x="21" y="57"/>
                </a:lnTo>
                <a:lnTo>
                  <a:pt x="11" y="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" name="Oval 66">
            <a:extLst>
              <a:ext uri="{FF2B5EF4-FFF2-40B4-BE49-F238E27FC236}">
                <a16:creationId xmlns:a16="http://schemas.microsoft.com/office/drawing/2014/main" id="{AAB7FE26-5A9C-4CA3-9A1D-3818D6F9FC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1072" y="2556616"/>
            <a:ext cx="1981200" cy="774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47" name="Rectangle 68">
            <a:extLst>
              <a:ext uri="{FF2B5EF4-FFF2-40B4-BE49-F238E27FC236}">
                <a16:creationId xmlns:a16="http://schemas.microsoft.com/office/drawing/2014/main" id="{51FE574F-B90A-4A88-8292-DA93551C0B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6672" y="2816251"/>
            <a:ext cx="1270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b="1" dirty="0">
                <a:solidFill>
                  <a:schemeClr val="tx1"/>
                </a:solidFill>
              </a:rPr>
              <a:t>Lecture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48" name="Freeform 65">
            <a:extLst>
              <a:ext uri="{FF2B5EF4-FFF2-40B4-BE49-F238E27FC236}">
                <a16:creationId xmlns:a16="http://schemas.microsoft.com/office/drawing/2014/main" id="{45AFE6E0-F6EC-4D22-AB09-D84628C61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rot="16374037">
            <a:off x="9175275" y="4268350"/>
            <a:ext cx="234950" cy="696912"/>
          </a:xfrm>
          <a:custGeom>
            <a:avLst/>
            <a:gdLst>
              <a:gd name="T0" fmla="*/ 2147483646 w 21"/>
              <a:gd name="T1" fmla="*/ 2147483646 h 63"/>
              <a:gd name="T2" fmla="*/ 0 w 21"/>
              <a:gd name="T3" fmla="*/ 0 h 63"/>
              <a:gd name="T4" fmla="*/ 2147483646 w 21"/>
              <a:gd name="T5" fmla="*/ 2147483646 h 63"/>
              <a:gd name="T6" fmla="*/ 2147483646 w 21"/>
              <a:gd name="T7" fmla="*/ 2147483646 h 63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63"/>
              <a:gd name="T14" fmla="*/ 21 w 21"/>
              <a:gd name="T15" fmla="*/ 63 h 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63">
                <a:moveTo>
                  <a:pt x="11" y="63"/>
                </a:moveTo>
                <a:lnTo>
                  <a:pt x="0" y="0"/>
                </a:lnTo>
                <a:lnTo>
                  <a:pt x="21" y="57"/>
                </a:lnTo>
                <a:lnTo>
                  <a:pt x="11" y="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" name="Oval 66">
            <a:extLst>
              <a:ext uri="{FF2B5EF4-FFF2-40B4-BE49-F238E27FC236}">
                <a16:creationId xmlns:a16="http://schemas.microsoft.com/office/drawing/2014/main" id="{14B55FB8-6A4D-4E79-A17E-66F591E18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8743" y="4126339"/>
            <a:ext cx="1981200" cy="774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" name="Rectangle 68">
            <a:extLst>
              <a:ext uri="{FF2B5EF4-FFF2-40B4-BE49-F238E27FC236}">
                <a16:creationId xmlns:a16="http://schemas.microsoft.com/office/drawing/2014/main" id="{7B16B1ED-6F15-4D2D-BF91-306C654817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343" y="4385974"/>
            <a:ext cx="1270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b="1" dirty="0">
                <a:solidFill>
                  <a:schemeClr val="tx1"/>
                </a:solidFill>
              </a:rPr>
              <a:t>Tutorial</a:t>
            </a:r>
            <a:endParaRPr lang="en-US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75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Business and corporate strategy are core elements of</a:t>
            </a:r>
            <a:br>
              <a:rPr lang="en-US" altLang="en-US"/>
            </a:br>
            <a:r>
              <a:rPr lang="en-US" altLang="en-US"/>
              <a:t>strategic management</a:t>
            </a:r>
            <a:endParaRPr lang="en-US" altLang="en-US" dirty="0"/>
          </a:p>
        </p:txBody>
      </p:sp>
      <p:sp>
        <p:nvSpPr>
          <p:cNvPr id="37" name="Text Box 33"/>
          <p:cNvSpPr txBox="1">
            <a:spLocks noGrp="1" noChangeArrowheads="1"/>
          </p:cNvSpPr>
          <p:nvPr>
            <p:ph idx="1"/>
          </p:nvPr>
        </p:nvSpPr>
        <p:spPr/>
        <p:txBody>
          <a:bodyPr/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/>
              <a:t>Concept of strategy</a:t>
            </a:r>
            <a:endParaRPr lang="en-US" altLang="en-US" dirty="0"/>
          </a:p>
        </p:txBody>
      </p:sp>
      <p:sp>
        <p:nvSpPr>
          <p:cNvPr id="17411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EEA4E2C5-A1AA-49DF-ABF1-828EB84A3EDF}" type="slidenum">
              <a:rPr lang="en-US" altLang="en-US" smtClean="0"/>
              <a:pPr/>
              <a:t>11</a:t>
            </a:fld>
            <a:endParaRPr lang="en-US" alt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sp>
        <p:nvSpPr>
          <p:cNvPr id="17412" name="Rectangle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7158" y="3209926"/>
            <a:ext cx="7121525" cy="19335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13" name="Freeform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4037807" y="3765550"/>
            <a:ext cx="614362" cy="2038350"/>
          </a:xfrm>
          <a:custGeom>
            <a:avLst/>
            <a:gdLst>
              <a:gd name="T0" fmla="*/ 2147483646 w 55"/>
              <a:gd name="T1" fmla="*/ 0 h 214"/>
              <a:gd name="T2" fmla="*/ 0 w 55"/>
              <a:gd name="T3" fmla="*/ 0 h 214"/>
              <a:gd name="T4" fmla="*/ 0 w 55"/>
              <a:gd name="T5" fmla="*/ 2147483646 h 214"/>
              <a:gd name="T6" fmla="*/ 2147483646 w 55"/>
              <a:gd name="T7" fmla="*/ 2147483646 h 214"/>
              <a:gd name="T8" fmla="*/ 0 60000 65536"/>
              <a:gd name="T9" fmla="*/ 0 60000 65536"/>
              <a:gd name="T10" fmla="*/ 0 60000 65536"/>
              <a:gd name="T11" fmla="*/ 0 60000 65536"/>
              <a:gd name="T12" fmla="*/ 0 w 55"/>
              <a:gd name="T13" fmla="*/ 0 h 214"/>
              <a:gd name="T14" fmla="*/ 55 w 55"/>
              <a:gd name="T15" fmla="*/ 214 h 2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5" h="214">
                <a:moveTo>
                  <a:pt x="10" y="0"/>
                </a:moveTo>
                <a:lnTo>
                  <a:pt x="0" y="0"/>
                </a:lnTo>
                <a:lnTo>
                  <a:pt x="0" y="214"/>
                </a:lnTo>
                <a:lnTo>
                  <a:pt x="55" y="214"/>
                </a:lnTo>
              </a:path>
            </a:pathLst>
          </a:custGeom>
          <a:noFill/>
          <a:ln w="19050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7414" name="Rectangle 9"/>
          <p:cNvSpPr>
            <a:spLocks noChangeArrowheads="1"/>
          </p:cNvSpPr>
          <p:nvPr/>
        </p:nvSpPr>
        <p:spPr bwMode="auto">
          <a:xfrm>
            <a:off x="4148933" y="3441701"/>
            <a:ext cx="1431925" cy="638175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800"/>
              </a:lnSpc>
            </a:pPr>
            <a:r>
              <a:rPr lang="en-US" altLang="en-US" dirty="0"/>
              <a:t>At corporate level</a:t>
            </a:r>
          </a:p>
        </p:txBody>
      </p:sp>
      <p:sp>
        <p:nvSpPr>
          <p:cNvPr id="17415" name="Rectangle 11"/>
          <p:cNvSpPr>
            <a:spLocks noChangeArrowheads="1"/>
          </p:cNvSpPr>
          <p:nvPr/>
        </p:nvSpPr>
        <p:spPr bwMode="auto">
          <a:xfrm>
            <a:off x="4148933" y="5480051"/>
            <a:ext cx="1431925" cy="638175"/>
          </a:xfrm>
          <a:prstGeom prst="rect">
            <a:avLst/>
          </a:prstGeom>
          <a:solidFill>
            <a:srgbClr val="FFFFFF"/>
          </a:solidFill>
          <a:ln w="9525">
            <a:solidFill>
              <a:srgbClr val="7D9F3F"/>
            </a:solidFill>
            <a:miter lim="800000"/>
            <a:headEnd/>
            <a:tailEnd/>
          </a:ln>
        </p:spPr>
        <p:txBody>
          <a:bodyPr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At business level</a:t>
            </a:r>
          </a:p>
        </p:txBody>
      </p:sp>
      <p:sp>
        <p:nvSpPr>
          <p:cNvPr id="17416" name="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8933" y="5480051"/>
            <a:ext cx="1431925" cy="638175"/>
          </a:xfrm>
          <a:prstGeom prst="rect">
            <a:avLst/>
          </a:prstGeom>
          <a:noFill/>
          <a:ln w="19050">
            <a:solidFill>
              <a:srgbClr val="7D9F3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19" name="Line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3756819" y="4822825"/>
            <a:ext cx="280988" cy="1588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7420" name="Rectangle 22"/>
          <p:cNvSpPr>
            <a:spLocks noChangeArrowheads="1"/>
          </p:cNvSpPr>
          <p:nvPr/>
        </p:nvSpPr>
        <p:spPr bwMode="auto">
          <a:xfrm>
            <a:off x="4171158" y="4203701"/>
            <a:ext cx="1597025" cy="74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74625" indent="-174625"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Font typeface="Arial" panose="020B0604020202020204" pitchFamily="34" charset="0"/>
              <a:buChar char="="/>
            </a:pPr>
            <a:r>
              <a:rPr lang="en-US" altLang="en-US" dirty="0"/>
              <a:t>Multibusiness  firm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1" name="Rectangle 23"/>
          <p:cNvSpPr>
            <a:spLocks noChangeArrowheads="1"/>
          </p:cNvSpPr>
          <p:nvPr/>
        </p:nvSpPr>
        <p:spPr bwMode="auto">
          <a:xfrm>
            <a:off x="4193382" y="6251576"/>
            <a:ext cx="1847850" cy="74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74625" indent="-174625"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Font typeface="Arial" panose="020B0604020202020204" pitchFamily="34" charset="0"/>
              <a:buChar char="="/>
            </a:pPr>
            <a:r>
              <a:rPr lang="en-US" altLang="en-US" dirty="0"/>
              <a:t>Single business  (firm)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2" name="Rectangle 24"/>
          <p:cNvSpPr>
            <a:spLocks noChangeArrowheads="1"/>
          </p:cNvSpPr>
          <p:nvPr/>
        </p:nvSpPr>
        <p:spPr bwMode="auto">
          <a:xfrm>
            <a:off x="6106319" y="3403600"/>
            <a:ext cx="115570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Portfolio design/ </a:t>
            </a:r>
            <a:r>
              <a:rPr lang="en-US" altLang="en-US" dirty="0" err="1"/>
              <a:t>diversifi-cation</a:t>
            </a:r>
            <a:r>
              <a:rPr lang="en-US" altLang="en-US" dirty="0"/>
              <a:t>, Executing portfolio changes</a:t>
            </a:r>
          </a:p>
        </p:txBody>
      </p:sp>
      <p:sp>
        <p:nvSpPr>
          <p:cNvPr id="17423" name="Rectangle 25"/>
          <p:cNvSpPr>
            <a:spLocks noChangeArrowheads="1"/>
          </p:cNvSpPr>
          <p:nvPr/>
        </p:nvSpPr>
        <p:spPr bwMode="auto">
          <a:xfrm>
            <a:off x="7471570" y="3403600"/>
            <a:ext cx="155892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Parenting advantage   (as an owner of businesses)</a:t>
            </a:r>
          </a:p>
        </p:txBody>
      </p:sp>
      <p:sp>
        <p:nvSpPr>
          <p:cNvPr id="17424" name="Rectangle 26"/>
          <p:cNvSpPr>
            <a:spLocks noChangeArrowheads="1"/>
          </p:cNvSpPr>
          <p:nvPr/>
        </p:nvSpPr>
        <p:spPr bwMode="auto">
          <a:xfrm>
            <a:off x="9060657" y="3403600"/>
            <a:ext cx="19177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Success of the whole corporation</a:t>
            </a:r>
          </a:p>
        </p:txBody>
      </p:sp>
      <p:sp>
        <p:nvSpPr>
          <p:cNvPr id="17425" name="Rectangle 27"/>
          <p:cNvSpPr>
            <a:spLocks noChangeArrowheads="1"/>
          </p:cNvSpPr>
          <p:nvPr/>
        </p:nvSpPr>
        <p:spPr bwMode="auto">
          <a:xfrm>
            <a:off x="6106320" y="5376864"/>
            <a:ext cx="1293813" cy="17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Market positioning, Resource exploitation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6" name="Rectangle 28"/>
          <p:cNvSpPr>
            <a:spLocks noChangeArrowheads="1"/>
          </p:cNvSpPr>
          <p:nvPr/>
        </p:nvSpPr>
        <p:spPr bwMode="auto">
          <a:xfrm>
            <a:off x="7695407" y="5386389"/>
            <a:ext cx="1376362" cy="17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Competitive advantage (in a single industry)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7" name="Rectangle 29"/>
          <p:cNvSpPr>
            <a:spLocks noChangeArrowheads="1"/>
          </p:cNvSpPr>
          <p:nvPr/>
        </p:nvSpPr>
        <p:spPr bwMode="auto">
          <a:xfrm>
            <a:off x="9262269" y="5386389"/>
            <a:ext cx="1435100" cy="17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Success (stand-alone) of single businesses</a:t>
            </a:r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28" name="Rectangle 30"/>
          <p:cNvSpPr>
            <a:spLocks noChangeArrowheads="1"/>
          </p:cNvSpPr>
          <p:nvPr/>
        </p:nvSpPr>
        <p:spPr bwMode="auto">
          <a:xfrm>
            <a:off x="2291558" y="4489450"/>
            <a:ext cx="1533525" cy="685800"/>
          </a:xfrm>
          <a:prstGeom prst="rect">
            <a:avLst/>
          </a:prstGeom>
          <a:solidFill>
            <a:srgbClr val="FFFFFF"/>
          </a:solidFill>
          <a:ln w="9525">
            <a:solidFill>
              <a:srgbClr val="7D9F3F"/>
            </a:solidFill>
            <a:miter lim="800000"/>
            <a:headEnd/>
            <a:tailEnd/>
          </a:ln>
        </p:spPr>
        <p:txBody>
          <a:bodyPr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/>
              <a:t>Strategic management</a:t>
            </a:r>
          </a:p>
        </p:txBody>
      </p:sp>
      <p:sp>
        <p:nvSpPr>
          <p:cNvPr id="17429" name="Rectangle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1558" y="4489450"/>
            <a:ext cx="1533525" cy="685800"/>
          </a:xfrm>
          <a:prstGeom prst="rect">
            <a:avLst/>
          </a:prstGeom>
          <a:noFill/>
          <a:ln w="19050">
            <a:solidFill>
              <a:srgbClr val="7D9F3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32" name="Line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4037807" y="3765551"/>
            <a:ext cx="0" cy="1349375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17434" name="Oval 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3482" y="2262189"/>
            <a:ext cx="1935162" cy="581025"/>
          </a:xfrm>
          <a:prstGeom prst="ellipse">
            <a:avLst/>
          </a:pr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17435" name="Freeform 4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266782" y="2109789"/>
            <a:ext cx="1879600" cy="790575"/>
          </a:xfrm>
          <a:custGeom>
            <a:avLst/>
            <a:gdLst>
              <a:gd name="T0" fmla="*/ 0 w 168"/>
              <a:gd name="T1" fmla="*/ 0 h 83"/>
              <a:gd name="T2" fmla="*/ 0 w 168"/>
              <a:gd name="T3" fmla="*/ 2147483646 h 83"/>
              <a:gd name="T4" fmla="*/ 2147483646 w 168"/>
              <a:gd name="T5" fmla="*/ 2147483646 h 83"/>
              <a:gd name="T6" fmla="*/ 2147483646 w 168"/>
              <a:gd name="T7" fmla="*/ 2147483646 h 83"/>
              <a:gd name="T8" fmla="*/ 2147483646 w 168"/>
              <a:gd name="T9" fmla="*/ 0 h 83"/>
              <a:gd name="T10" fmla="*/ 0 w 168"/>
              <a:gd name="T11" fmla="*/ 0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8"/>
              <a:gd name="T19" fmla="*/ 0 h 83"/>
              <a:gd name="T20" fmla="*/ 168 w 168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8" h="83">
                <a:moveTo>
                  <a:pt x="0" y="0"/>
                </a:moveTo>
                <a:lnTo>
                  <a:pt x="0" y="83"/>
                </a:lnTo>
                <a:lnTo>
                  <a:pt x="124" y="83"/>
                </a:lnTo>
                <a:lnTo>
                  <a:pt x="168" y="42"/>
                </a:lnTo>
                <a:lnTo>
                  <a:pt x="124" y="0"/>
                </a:lnTo>
                <a:lnTo>
                  <a:pt x="0" y="0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436" name="Freeform 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972970" y="2109789"/>
            <a:ext cx="1755775" cy="790575"/>
          </a:xfrm>
          <a:custGeom>
            <a:avLst/>
            <a:gdLst>
              <a:gd name="T0" fmla="*/ 0 w 157"/>
              <a:gd name="T1" fmla="*/ 0 h 83"/>
              <a:gd name="T2" fmla="*/ 0 w 157"/>
              <a:gd name="T3" fmla="*/ 2147483646 h 83"/>
              <a:gd name="T4" fmla="*/ 2147483646 w 157"/>
              <a:gd name="T5" fmla="*/ 2147483646 h 83"/>
              <a:gd name="T6" fmla="*/ 2147483646 w 157"/>
              <a:gd name="T7" fmla="*/ 2147483646 h 83"/>
              <a:gd name="T8" fmla="*/ 2147483646 w 157"/>
              <a:gd name="T9" fmla="*/ 0 h 83"/>
              <a:gd name="T10" fmla="*/ 0 w 157"/>
              <a:gd name="T11" fmla="*/ 0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7"/>
              <a:gd name="T19" fmla="*/ 0 h 83"/>
              <a:gd name="T20" fmla="*/ 157 w 157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7" h="83">
                <a:moveTo>
                  <a:pt x="0" y="0"/>
                </a:moveTo>
                <a:lnTo>
                  <a:pt x="0" y="83"/>
                </a:lnTo>
                <a:lnTo>
                  <a:pt x="115" y="83"/>
                </a:lnTo>
                <a:lnTo>
                  <a:pt x="157" y="42"/>
                </a:lnTo>
                <a:lnTo>
                  <a:pt x="115" y="0"/>
                </a:lnTo>
                <a:lnTo>
                  <a:pt x="0" y="0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437" name="Rectangle 45"/>
          <p:cNvSpPr>
            <a:spLocks noChangeArrowheads="1"/>
          </p:cNvSpPr>
          <p:nvPr/>
        </p:nvSpPr>
        <p:spPr bwMode="auto">
          <a:xfrm>
            <a:off x="6296819" y="2276475"/>
            <a:ext cx="965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>
                <a:solidFill>
                  <a:srgbClr val="FFFFFF"/>
                </a:solidFill>
              </a:rPr>
              <a:t>Strategic Decision</a:t>
            </a:r>
          </a:p>
        </p:txBody>
      </p:sp>
      <p:sp>
        <p:nvSpPr>
          <p:cNvPr id="17438" name="Rectangle 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6820" y="2093913"/>
            <a:ext cx="6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endParaRPr lang="en-US" altLang="en-US" dirty="0"/>
          </a:p>
        </p:txBody>
      </p:sp>
      <p:sp>
        <p:nvSpPr>
          <p:cNvPr id="17439" name="Rectangle 47"/>
          <p:cNvSpPr>
            <a:spLocks noChangeArrowheads="1"/>
          </p:cNvSpPr>
          <p:nvPr/>
        </p:nvSpPr>
        <p:spPr bwMode="auto">
          <a:xfrm>
            <a:off x="7785894" y="2390775"/>
            <a:ext cx="1092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>
                <a:solidFill>
                  <a:srgbClr val="FFFFFF"/>
                </a:solidFill>
              </a:rPr>
              <a:t>Advantage</a:t>
            </a:r>
          </a:p>
        </p:txBody>
      </p:sp>
      <p:sp>
        <p:nvSpPr>
          <p:cNvPr id="17440" name="Rectangle 48"/>
          <p:cNvSpPr>
            <a:spLocks noChangeArrowheads="1"/>
          </p:cNvSpPr>
          <p:nvPr/>
        </p:nvSpPr>
        <p:spPr bwMode="auto">
          <a:xfrm>
            <a:off x="9359107" y="2424113"/>
            <a:ext cx="863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en-US" dirty="0">
                <a:solidFill>
                  <a:srgbClr val="FFFFFF"/>
                </a:solidFill>
              </a:rPr>
              <a:t>Success</a:t>
            </a:r>
          </a:p>
        </p:txBody>
      </p:sp>
    </p:spTree>
    <p:extLst>
      <p:ext uri="{BB962C8B-B14F-4D97-AF65-F5344CB8AC3E}">
        <p14:creationId xmlns:p14="http://schemas.microsoft.com/office/powerpoint/2010/main" val="139081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Line 14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63519" y="3521076"/>
            <a:ext cx="1174750" cy="9525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he concept of parenting advantage provides the guideline</a:t>
            </a:r>
            <a:br>
              <a:rPr lang="en-US" altLang="en-US" dirty="0"/>
            </a:br>
            <a:r>
              <a:rPr lang="en-US" altLang="en-US" dirty="0"/>
              <a:t>for corporate strategy</a:t>
            </a:r>
          </a:p>
        </p:txBody>
      </p:sp>
      <p:sp>
        <p:nvSpPr>
          <p:cNvPr id="57" name="Text Box 3"/>
          <p:cNvSpPr txBox="1">
            <a:spLocks noGrp="1" noChangeArrowheads="1"/>
          </p:cNvSpPr>
          <p:nvPr>
            <p:ph idx="1"/>
          </p:nvPr>
        </p:nvSpPr>
        <p:spPr/>
        <p:txBody>
          <a:bodyPr/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/>
              <a:t>Prerequisites for parenting advantage</a:t>
            </a:r>
            <a:endParaRPr lang="en-US" altLang="en-US" dirty="0"/>
          </a:p>
        </p:txBody>
      </p:sp>
      <p:sp>
        <p:nvSpPr>
          <p:cNvPr id="50179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fld id="{5175FBC3-7273-4416-B3D1-741E0F7CD820}" type="slidenum">
              <a:rPr lang="en-US" altLang="en-US" smtClean="0"/>
              <a:pPr/>
              <a:t>12</a:t>
            </a:fld>
            <a:endParaRPr lang="en-US" alt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sp>
        <p:nvSpPr>
          <p:cNvPr id="50180" name="Line 14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6082507" y="4319588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1" name="Line 1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4906169" y="4086225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2" name="Line 14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3855244" y="4683125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3" name="Line 1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2950369" y="5149850"/>
            <a:ext cx="590550" cy="0"/>
          </a:xfrm>
          <a:prstGeom prst="line">
            <a:avLst/>
          </a:prstGeom>
          <a:noFill/>
          <a:ln w="19050">
            <a:solidFill>
              <a:srgbClr val="7D9F3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50186" name="Rectangle 58"/>
          <p:cNvSpPr>
            <a:spLocks noChangeArrowheads="1"/>
          </p:cNvSpPr>
          <p:nvPr/>
        </p:nvSpPr>
        <p:spPr bwMode="auto">
          <a:xfrm>
            <a:off x="2232820" y="6129338"/>
            <a:ext cx="9112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</a:t>
            </a:r>
            <a:br>
              <a:rPr lang="en-US" altLang="en-US" dirty="0"/>
            </a:br>
            <a:r>
              <a:rPr lang="en-US" altLang="en-US" dirty="0"/>
              <a:t>business</a:t>
            </a:r>
            <a:br>
              <a:rPr lang="en-US" altLang="en-US" dirty="0"/>
            </a:br>
            <a:r>
              <a:rPr lang="en-US" altLang="en-US" dirty="0"/>
              <a:t>A</a:t>
            </a:r>
          </a:p>
        </p:txBody>
      </p:sp>
      <p:sp>
        <p:nvSpPr>
          <p:cNvPr id="50187" name="Rectangle 5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858" y="5146675"/>
            <a:ext cx="852487" cy="895350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188" name="Rectangle 6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6445" y="4683126"/>
            <a:ext cx="854075" cy="466725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189" name="Rectangle 6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794" y="4086226"/>
            <a:ext cx="852488" cy="600075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190" name="Freeform 10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8446294" y="4310063"/>
            <a:ext cx="285750" cy="1149350"/>
          </a:xfrm>
          <a:custGeom>
            <a:avLst/>
            <a:gdLst>
              <a:gd name="T0" fmla="*/ 2147483646 w 502"/>
              <a:gd name="T1" fmla="*/ 2147483646 h 452"/>
              <a:gd name="T2" fmla="*/ 2147483646 w 502"/>
              <a:gd name="T3" fmla="*/ 0 h 452"/>
              <a:gd name="T4" fmla="*/ 2147483646 w 502"/>
              <a:gd name="T5" fmla="*/ 2147483646 h 452"/>
              <a:gd name="T6" fmla="*/ 2147483646 w 502"/>
              <a:gd name="T7" fmla="*/ 2147483646 h 452"/>
              <a:gd name="T8" fmla="*/ 2147483646 w 502"/>
              <a:gd name="T9" fmla="*/ 0 h 452"/>
              <a:gd name="T10" fmla="*/ 0 w 502"/>
              <a:gd name="T11" fmla="*/ 2147483646 h 452"/>
              <a:gd name="T12" fmla="*/ 2147483646 w 502"/>
              <a:gd name="T13" fmla="*/ 2147483646 h 452"/>
              <a:gd name="T14" fmla="*/ 2147483646 w 502"/>
              <a:gd name="T15" fmla="*/ 2147483646 h 452"/>
              <a:gd name="T16" fmla="*/ 2147483646 w 502"/>
              <a:gd name="T17" fmla="*/ 2147483646 h 452"/>
              <a:gd name="T18" fmla="*/ 2147483646 w 502"/>
              <a:gd name="T19" fmla="*/ 2147483646 h 452"/>
              <a:gd name="T20" fmla="*/ 2147483646 w 502"/>
              <a:gd name="T21" fmla="*/ 2147483646 h 45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02"/>
              <a:gd name="T34" fmla="*/ 0 h 452"/>
              <a:gd name="T35" fmla="*/ 502 w 502"/>
              <a:gd name="T36" fmla="*/ 452 h 45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02" h="452">
                <a:moveTo>
                  <a:pt x="502" y="224"/>
                </a:moveTo>
                <a:lnTo>
                  <a:pt x="435" y="0"/>
                </a:lnTo>
                <a:lnTo>
                  <a:pt x="435" y="135"/>
                </a:lnTo>
                <a:lnTo>
                  <a:pt x="69" y="135"/>
                </a:lnTo>
                <a:lnTo>
                  <a:pt x="69" y="0"/>
                </a:lnTo>
                <a:lnTo>
                  <a:pt x="0" y="224"/>
                </a:lnTo>
                <a:lnTo>
                  <a:pt x="69" y="452"/>
                </a:lnTo>
                <a:lnTo>
                  <a:pt x="69" y="313"/>
                </a:lnTo>
                <a:lnTo>
                  <a:pt x="435" y="313"/>
                </a:lnTo>
                <a:lnTo>
                  <a:pt x="435" y="448"/>
                </a:lnTo>
                <a:lnTo>
                  <a:pt x="502" y="224"/>
                </a:lnTo>
                <a:close/>
              </a:path>
            </a:pathLst>
          </a:custGeom>
          <a:solidFill>
            <a:srgbClr val="7D9F3F"/>
          </a:solidFill>
          <a:ln w="9525">
            <a:solidFill>
              <a:srgbClr val="7D9F3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0191" name="Freeform 1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8065294" y="2332038"/>
            <a:ext cx="3079750" cy="1066800"/>
          </a:xfrm>
          <a:custGeom>
            <a:avLst/>
            <a:gdLst>
              <a:gd name="T0" fmla="*/ 2147483646 w 1940"/>
              <a:gd name="T1" fmla="*/ 2147483646 h 552"/>
              <a:gd name="T2" fmla="*/ 2147483646 w 1940"/>
              <a:gd name="T3" fmla="*/ 0 h 552"/>
              <a:gd name="T4" fmla="*/ 0 w 1940"/>
              <a:gd name="T5" fmla="*/ 0 h 552"/>
              <a:gd name="T6" fmla="*/ 0 w 1940"/>
              <a:gd name="T7" fmla="*/ 2147483646 h 552"/>
              <a:gd name="T8" fmla="*/ 2147483646 w 1940"/>
              <a:gd name="T9" fmla="*/ 2147483646 h 552"/>
              <a:gd name="T10" fmla="*/ 2147483646 w 1940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0"/>
              <a:gd name="T19" fmla="*/ 0 h 552"/>
              <a:gd name="T20" fmla="*/ 1940 w 1940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0" h="552">
                <a:moveTo>
                  <a:pt x="1940" y="275"/>
                </a:moveTo>
                <a:lnTo>
                  <a:pt x="1844" y="0"/>
                </a:lnTo>
                <a:lnTo>
                  <a:pt x="0" y="0"/>
                </a:lnTo>
                <a:lnTo>
                  <a:pt x="0" y="552"/>
                </a:lnTo>
                <a:lnTo>
                  <a:pt x="1821" y="552"/>
                </a:lnTo>
                <a:lnTo>
                  <a:pt x="1940" y="2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192" name="Rectangle 120"/>
          <p:cNvSpPr>
            <a:spLocks noChangeArrowheads="1"/>
          </p:cNvSpPr>
          <p:nvPr/>
        </p:nvSpPr>
        <p:spPr bwMode="auto">
          <a:xfrm>
            <a:off x="3258345" y="6129338"/>
            <a:ext cx="9112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</a:t>
            </a:r>
            <a:br>
              <a:rPr lang="en-US" altLang="en-US" dirty="0"/>
            </a:br>
            <a:r>
              <a:rPr lang="en-US" altLang="en-US" dirty="0"/>
              <a:t>business</a:t>
            </a:r>
            <a:br>
              <a:rPr lang="en-US" altLang="en-US" dirty="0"/>
            </a:br>
            <a:r>
              <a:rPr lang="en-US" altLang="en-US" dirty="0"/>
              <a:t>B</a:t>
            </a:r>
          </a:p>
        </p:txBody>
      </p:sp>
      <p:sp>
        <p:nvSpPr>
          <p:cNvPr id="50193" name="Rectangle 121"/>
          <p:cNvSpPr>
            <a:spLocks noChangeArrowheads="1"/>
          </p:cNvSpPr>
          <p:nvPr/>
        </p:nvSpPr>
        <p:spPr bwMode="auto">
          <a:xfrm>
            <a:off x="4309270" y="6129338"/>
            <a:ext cx="9112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</a:t>
            </a:r>
            <a:br>
              <a:rPr lang="en-US" altLang="en-US" dirty="0"/>
            </a:br>
            <a:r>
              <a:rPr lang="en-US" altLang="en-US" dirty="0"/>
              <a:t>business</a:t>
            </a:r>
            <a:br>
              <a:rPr lang="en-US" altLang="en-US" dirty="0"/>
            </a:br>
            <a:r>
              <a:rPr lang="en-US" altLang="en-US" dirty="0"/>
              <a:t>C</a:t>
            </a:r>
          </a:p>
        </p:txBody>
      </p:sp>
      <p:sp>
        <p:nvSpPr>
          <p:cNvPr id="50194" name="Rectangle 122"/>
          <p:cNvSpPr>
            <a:spLocks noChangeArrowheads="1"/>
          </p:cNvSpPr>
          <p:nvPr/>
        </p:nvSpPr>
        <p:spPr bwMode="auto">
          <a:xfrm>
            <a:off x="5298282" y="6129338"/>
            <a:ext cx="9652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Cost </a:t>
            </a:r>
            <a:br>
              <a:rPr lang="en-US" altLang="en-US" dirty="0"/>
            </a:br>
            <a:r>
              <a:rPr lang="en-US" altLang="en-US" dirty="0"/>
              <a:t>corporate</a:t>
            </a:r>
            <a:br>
              <a:rPr lang="en-US" altLang="en-US" dirty="0"/>
            </a:br>
            <a:r>
              <a:rPr lang="en-US" altLang="en-US" dirty="0"/>
              <a:t>center</a:t>
            </a:r>
          </a:p>
        </p:txBody>
      </p:sp>
      <p:sp>
        <p:nvSpPr>
          <p:cNvPr id="50195" name="Rectangle 123"/>
          <p:cNvSpPr>
            <a:spLocks noChangeArrowheads="1"/>
          </p:cNvSpPr>
          <p:nvPr/>
        </p:nvSpPr>
        <p:spPr bwMode="auto">
          <a:xfrm>
            <a:off x="6323807" y="6135688"/>
            <a:ext cx="9652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Benefit</a:t>
            </a:r>
            <a:br>
              <a:rPr lang="en-US" altLang="en-US" dirty="0"/>
            </a:br>
            <a:r>
              <a:rPr lang="en-US" altLang="en-US" dirty="0"/>
              <a:t>corporate</a:t>
            </a:r>
            <a:br>
              <a:rPr lang="en-US" altLang="en-US" dirty="0"/>
            </a:br>
            <a:r>
              <a:rPr lang="en-US" altLang="en-US" dirty="0"/>
              <a:t>center</a:t>
            </a:r>
          </a:p>
        </p:txBody>
      </p:sp>
      <p:sp>
        <p:nvSpPr>
          <p:cNvPr id="50196" name="Rectangle 124"/>
          <p:cNvSpPr>
            <a:spLocks noChangeArrowheads="1"/>
          </p:cNvSpPr>
          <p:nvPr/>
        </p:nvSpPr>
        <p:spPr bwMode="auto">
          <a:xfrm>
            <a:off x="7339807" y="6129338"/>
            <a:ext cx="101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Corporate</a:t>
            </a:r>
            <a:br>
              <a:rPr lang="en-US" altLang="en-US" dirty="0"/>
            </a:br>
            <a:r>
              <a:rPr lang="en-US" altLang="en-US" dirty="0"/>
              <a:t>value</a:t>
            </a:r>
          </a:p>
        </p:txBody>
      </p:sp>
      <p:sp>
        <p:nvSpPr>
          <p:cNvPr id="50197" name="Freeform 140"/>
          <p:cNvSpPr>
            <a:spLocks/>
          </p:cNvSpPr>
          <p:nvPr/>
        </p:nvSpPr>
        <p:spPr bwMode="auto">
          <a:xfrm>
            <a:off x="8090695" y="2332038"/>
            <a:ext cx="3082925" cy="1066800"/>
          </a:xfrm>
          <a:custGeom>
            <a:avLst/>
            <a:gdLst>
              <a:gd name="T0" fmla="*/ 2147483646 w 1942"/>
              <a:gd name="T1" fmla="*/ 2147483646 h 552"/>
              <a:gd name="T2" fmla="*/ 2147483646 w 1942"/>
              <a:gd name="T3" fmla="*/ 0 h 552"/>
              <a:gd name="T4" fmla="*/ 0 w 1942"/>
              <a:gd name="T5" fmla="*/ 0 h 552"/>
              <a:gd name="T6" fmla="*/ 0 w 1942"/>
              <a:gd name="T7" fmla="*/ 2147483646 h 552"/>
              <a:gd name="T8" fmla="*/ 2147483646 w 1942"/>
              <a:gd name="T9" fmla="*/ 2147483646 h 552"/>
              <a:gd name="T10" fmla="*/ 2147483646 w 1942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2"/>
              <a:gd name="T19" fmla="*/ 0 h 552"/>
              <a:gd name="T20" fmla="*/ 1942 w 1942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2" h="552">
                <a:moveTo>
                  <a:pt x="1942" y="277"/>
                </a:moveTo>
                <a:lnTo>
                  <a:pt x="1843" y="0"/>
                </a:lnTo>
                <a:lnTo>
                  <a:pt x="0" y="0"/>
                </a:lnTo>
                <a:lnTo>
                  <a:pt x="0" y="552"/>
                </a:lnTo>
                <a:lnTo>
                  <a:pt x="1820" y="552"/>
                </a:lnTo>
                <a:lnTo>
                  <a:pt x="1942" y="277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lIns="288000" rIns="90000" anchor="ctr"/>
          <a:lstStyle/>
          <a:p>
            <a:pPr>
              <a:lnSpc>
                <a:spcPts val="1800"/>
              </a:lnSpc>
            </a:pPr>
            <a:r>
              <a:rPr lang="en-US" altLang="en-US" dirty="0">
                <a:solidFill>
                  <a:srgbClr val="FFFFFF"/>
                </a:solidFill>
              </a:rPr>
              <a:t>The parent’s contribution must exceed the best alternative parent’s contribution</a:t>
            </a:r>
          </a:p>
        </p:txBody>
      </p:sp>
      <p:sp>
        <p:nvSpPr>
          <p:cNvPr id="50199" name="Freeform 139"/>
          <p:cNvSpPr>
            <a:spLocks/>
          </p:cNvSpPr>
          <p:nvPr/>
        </p:nvSpPr>
        <p:spPr bwMode="auto">
          <a:xfrm>
            <a:off x="5201445" y="2332038"/>
            <a:ext cx="3082925" cy="1066800"/>
          </a:xfrm>
          <a:custGeom>
            <a:avLst/>
            <a:gdLst>
              <a:gd name="T0" fmla="*/ 2147483646 w 1942"/>
              <a:gd name="T1" fmla="*/ 2147483646 h 552"/>
              <a:gd name="T2" fmla="*/ 2147483646 w 1942"/>
              <a:gd name="T3" fmla="*/ 0 h 552"/>
              <a:gd name="T4" fmla="*/ 0 w 1942"/>
              <a:gd name="T5" fmla="*/ 0 h 552"/>
              <a:gd name="T6" fmla="*/ 0 w 1942"/>
              <a:gd name="T7" fmla="*/ 2147483646 h 552"/>
              <a:gd name="T8" fmla="*/ 2147483646 w 1942"/>
              <a:gd name="T9" fmla="*/ 2147483646 h 552"/>
              <a:gd name="T10" fmla="*/ 2147483646 w 1942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2"/>
              <a:gd name="T19" fmla="*/ 0 h 552"/>
              <a:gd name="T20" fmla="*/ 1942 w 1942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2" h="552">
                <a:moveTo>
                  <a:pt x="1942" y="277"/>
                </a:moveTo>
                <a:lnTo>
                  <a:pt x="1843" y="0"/>
                </a:lnTo>
                <a:lnTo>
                  <a:pt x="0" y="0"/>
                </a:lnTo>
                <a:lnTo>
                  <a:pt x="0" y="552"/>
                </a:lnTo>
                <a:lnTo>
                  <a:pt x="1820" y="552"/>
                </a:lnTo>
                <a:lnTo>
                  <a:pt x="1942" y="277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lIns="288000" rIns="90000" anchor="ctr"/>
          <a:lstStyle/>
          <a:p>
            <a:pPr>
              <a:lnSpc>
                <a:spcPts val="1800"/>
              </a:lnSpc>
            </a:pPr>
            <a:r>
              <a:rPr lang="en-US" altLang="en-US" dirty="0">
                <a:solidFill>
                  <a:srgbClr val="FFFFFF"/>
                </a:solidFill>
              </a:rPr>
              <a:t>The whole must be more than the sum of its parts</a:t>
            </a:r>
          </a:p>
        </p:txBody>
      </p:sp>
      <p:sp>
        <p:nvSpPr>
          <p:cNvPr id="50201" name="Rectangle 119"/>
          <p:cNvSpPr>
            <a:spLocks noChangeArrowheads="1"/>
          </p:cNvSpPr>
          <p:nvPr/>
        </p:nvSpPr>
        <p:spPr bwMode="auto">
          <a:xfrm>
            <a:off x="8289132" y="2187575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/>
              <a:t>3</a:t>
            </a:r>
          </a:p>
        </p:txBody>
      </p:sp>
      <p:sp>
        <p:nvSpPr>
          <p:cNvPr id="50202" name="Oval 13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8482" y="2119314"/>
            <a:ext cx="368300" cy="363537"/>
          </a:xfrm>
          <a:prstGeom prst="ellipse">
            <a:avLst/>
          </a:prstGeom>
          <a:solidFill>
            <a:srgbClr val="FFAA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03" name="Rectangle 138"/>
          <p:cNvSpPr>
            <a:spLocks noChangeArrowheads="1"/>
          </p:cNvSpPr>
          <p:nvPr/>
        </p:nvSpPr>
        <p:spPr bwMode="auto">
          <a:xfrm>
            <a:off x="8289132" y="2187575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/>
              <a:t>3</a:t>
            </a:r>
          </a:p>
        </p:txBody>
      </p:sp>
      <p:sp>
        <p:nvSpPr>
          <p:cNvPr id="50204" name="Freeform 117"/>
          <p:cNvSpPr>
            <a:spLocks/>
          </p:cNvSpPr>
          <p:nvPr/>
        </p:nvSpPr>
        <p:spPr bwMode="auto">
          <a:xfrm>
            <a:off x="2326483" y="2330450"/>
            <a:ext cx="3082925" cy="1066800"/>
          </a:xfrm>
          <a:custGeom>
            <a:avLst/>
            <a:gdLst>
              <a:gd name="T0" fmla="*/ 2147483646 w 1942"/>
              <a:gd name="T1" fmla="*/ 2147483646 h 552"/>
              <a:gd name="T2" fmla="*/ 2147483646 w 1942"/>
              <a:gd name="T3" fmla="*/ 0 h 552"/>
              <a:gd name="T4" fmla="*/ 0 w 1942"/>
              <a:gd name="T5" fmla="*/ 0 h 552"/>
              <a:gd name="T6" fmla="*/ 0 w 1942"/>
              <a:gd name="T7" fmla="*/ 2147483646 h 552"/>
              <a:gd name="T8" fmla="*/ 2147483646 w 1942"/>
              <a:gd name="T9" fmla="*/ 2147483646 h 552"/>
              <a:gd name="T10" fmla="*/ 2147483646 w 1942"/>
              <a:gd name="T11" fmla="*/ 2147483646 h 5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42"/>
              <a:gd name="T19" fmla="*/ 0 h 552"/>
              <a:gd name="T20" fmla="*/ 1942 w 1942"/>
              <a:gd name="T21" fmla="*/ 552 h 5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42" h="552">
                <a:moveTo>
                  <a:pt x="1942" y="277"/>
                </a:moveTo>
                <a:lnTo>
                  <a:pt x="1843" y="0"/>
                </a:lnTo>
                <a:lnTo>
                  <a:pt x="0" y="0"/>
                </a:lnTo>
                <a:lnTo>
                  <a:pt x="0" y="552"/>
                </a:lnTo>
                <a:lnTo>
                  <a:pt x="1820" y="552"/>
                </a:lnTo>
                <a:lnTo>
                  <a:pt x="1942" y="277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lIns="288000" rIns="90000" anchor="ctr"/>
          <a:lstStyle/>
          <a:p>
            <a:pPr>
              <a:lnSpc>
                <a:spcPts val="1800"/>
              </a:lnSpc>
            </a:pPr>
            <a:r>
              <a:rPr lang="en-US" altLang="en-US" dirty="0">
                <a:solidFill>
                  <a:srgbClr val="FFFFFF"/>
                </a:solidFill>
              </a:rPr>
              <a:t>All businesses must have a positive business value</a:t>
            </a:r>
          </a:p>
        </p:txBody>
      </p:sp>
      <p:sp>
        <p:nvSpPr>
          <p:cNvPr id="50206" name="Oval 12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9508" y="2092325"/>
            <a:ext cx="371475" cy="363538"/>
          </a:xfrm>
          <a:prstGeom prst="ellipse">
            <a:avLst/>
          </a:prstGeom>
          <a:solidFill>
            <a:srgbClr val="FFAA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07" name="Rectangle 129"/>
          <p:cNvSpPr>
            <a:spLocks noChangeArrowheads="1"/>
          </p:cNvSpPr>
          <p:nvPr/>
        </p:nvSpPr>
        <p:spPr bwMode="auto">
          <a:xfrm>
            <a:off x="2521744" y="2160588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/>
              <a:t>1</a:t>
            </a:r>
            <a:endParaRPr lang="en-US" altLang="en-US" dirty="0"/>
          </a:p>
        </p:txBody>
      </p:sp>
      <p:sp>
        <p:nvSpPr>
          <p:cNvPr id="50208" name="Oval 13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3682" y="2092325"/>
            <a:ext cx="368300" cy="363538"/>
          </a:xfrm>
          <a:prstGeom prst="ellipse">
            <a:avLst/>
          </a:prstGeom>
          <a:solidFill>
            <a:srgbClr val="FFAA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09" name="Rectangle 132"/>
          <p:cNvSpPr>
            <a:spLocks noChangeArrowheads="1"/>
          </p:cNvSpPr>
          <p:nvPr/>
        </p:nvSpPr>
        <p:spPr bwMode="auto">
          <a:xfrm>
            <a:off x="5444332" y="2160588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/>
              <a:t>2</a:t>
            </a:r>
            <a:endParaRPr lang="en-US" altLang="en-US" dirty="0"/>
          </a:p>
        </p:txBody>
      </p:sp>
      <p:sp>
        <p:nvSpPr>
          <p:cNvPr id="50210" name="Rectangle 6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808" y="3521076"/>
            <a:ext cx="827087" cy="798513"/>
          </a:xfrm>
          <a:prstGeom prst="rect">
            <a:avLst/>
          </a:prstGeom>
          <a:solidFill>
            <a:srgbClr val="C8C8C8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11" name="Rectangle 1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7969" y="4086226"/>
            <a:ext cx="825500" cy="233363"/>
          </a:xfrm>
          <a:prstGeom prst="rect">
            <a:avLst/>
          </a:prstGeom>
          <a:solidFill>
            <a:srgbClr val="C8C8C8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12" name="Rectangle 6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9969" y="3521075"/>
            <a:ext cx="846138" cy="2520950"/>
          </a:xfrm>
          <a:prstGeom prst="rect">
            <a:avLst/>
          </a:prstGeom>
          <a:solidFill>
            <a:srgbClr val="C8C8C8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50215" name="Rectangle 124"/>
          <p:cNvSpPr>
            <a:spLocks noChangeArrowheads="1"/>
          </p:cNvSpPr>
          <p:nvPr/>
        </p:nvSpPr>
        <p:spPr bwMode="auto">
          <a:xfrm>
            <a:off x="9059069" y="6129338"/>
            <a:ext cx="1830388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dirty="0"/>
              <a:t>Value contribution</a:t>
            </a:r>
            <a:br>
              <a:rPr lang="en-US" altLang="en-US" dirty="0"/>
            </a:br>
            <a:r>
              <a:rPr lang="en-US" altLang="en-US" dirty="0"/>
              <a:t>compared to</a:t>
            </a:r>
            <a:br>
              <a:rPr lang="en-US" altLang="en-US" dirty="0"/>
            </a:br>
            <a:r>
              <a:rPr lang="en-US" altLang="en-US" dirty="0"/>
              <a:t>other parents</a:t>
            </a:r>
          </a:p>
        </p:txBody>
      </p:sp>
      <p:cxnSp>
        <p:nvCxnSpPr>
          <p:cNvPr id="50216" name="Gerade Verbindung 5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399507" y="6042025"/>
            <a:ext cx="5956300" cy="0"/>
          </a:xfrm>
          <a:prstGeom prst="line">
            <a:avLst/>
          </a:prstGeom>
          <a:noFill/>
          <a:ln w="19050" algn="ctr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0217" name="Gerade Verbindung 5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887620" y="6042025"/>
            <a:ext cx="2200275" cy="0"/>
          </a:xfrm>
          <a:prstGeom prst="line">
            <a:avLst/>
          </a:prstGeom>
          <a:noFill/>
          <a:ln w="19050" algn="ctr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227" name="Rectangle 5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9969" y="4319589"/>
            <a:ext cx="846138" cy="1722437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endParaRPr lang="en-US" altLang="en-US" dirty="0"/>
          </a:p>
        </p:txBody>
      </p:sp>
      <p:sp>
        <p:nvSpPr>
          <p:cNvPr id="61" name="Gleichschenkliges Dreieck 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 rot="-2700000">
            <a:off x="8944769" y="3836988"/>
            <a:ext cx="1758950" cy="889000"/>
          </a:xfrm>
          <a:prstGeom prst="triangle">
            <a:avLst>
              <a:gd name="adj" fmla="val 50000"/>
            </a:avLst>
          </a:prstGeom>
          <a:solidFill>
            <a:srgbClr val="FFAA00"/>
          </a:solidFill>
          <a:ln w="19050" algn="ctr">
            <a:solidFill>
              <a:srgbClr val="7D9F3F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/>
          </a:p>
        </p:txBody>
      </p:sp>
      <p:sp>
        <p:nvSpPr>
          <p:cNvPr id="62" name="Gleichschenkliges Dreieck 5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 rot="8100000" flipH="1">
            <a:off x="9573419" y="4465638"/>
            <a:ext cx="1758950" cy="889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algn="ctr">
            <a:solidFill>
              <a:srgbClr val="7D9F3F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/>
          </a:p>
        </p:txBody>
      </p:sp>
      <p:cxnSp>
        <p:nvCxnSpPr>
          <p:cNvPr id="63" name="Gerade Verbindung 5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887620" y="6042025"/>
            <a:ext cx="2200275" cy="0"/>
          </a:xfrm>
          <a:prstGeom prst="line">
            <a:avLst/>
          </a:prstGeom>
          <a:noFill/>
          <a:ln w="19050" algn="ctr">
            <a:solidFill>
              <a:srgbClr val="7D9F3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4" name="Rectangle 124"/>
          <p:cNvSpPr>
            <a:spLocks noChangeArrowheads="1"/>
          </p:cNvSpPr>
          <p:nvPr/>
        </p:nvSpPr>
        <p:spPr bwMode="auto">
          <a:xfrm>
            <a:off x="8706645" y="3521076"/>
            <a:ext cx="92551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/>
              <a:t>Own value</a:t>
            </a:r>
            <a:br>
              <a:rPr lang="de-DE" altLang="en-US" sz="1400"/>
            </a:br>
            <a:r>
              <a:rPr lang="de-DE" altLang="en-US" sz="1400"/>
              <a:t>contribution</a:t>
            </a:r>
          </a:p>
        </p:txBody>
      </p:sp>
      <p:sp>
        <p:nvSpPr>
          <p:cNvPr id="65" name="Rectangle 124"/>
          <p:cNvSpPr>
            <a:spLocks noChangeArrowheads="1"/>
          </p:cNvSpPr>
          <p:nvPr/>
        </p:nvSpPr>
        <p:spPr bwMode="auto">
          <a:xfrm>
            <a:off x="10113169" y="5319713"/>
            <a:ext cx="1023938" cy="53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400"/>
              </a:lnSpc>
            </a:pPr>
            <a:r>
              <a:rPr lang="de-DE" altLang="en-US" sz="1400"/>
              <a:t>Contribution</a:t>
            </a:r>
            <a:br>
              <a:rPr lang="de-DE" altLang="en-US" sz="1400"/>
            </a:br>
            <a:r>
              <a:rPr lang="de-DE" altLang="en-US" sz="1400"/>
              <a:t>of alternative</a:t>
            </a:r>
            <a:br>
              <a:rPr lang="de-DE" altLang="en-US" sz="1400"/>
            </a:br>
            <a:r>
              <a:rPr lang="de-DE" altLang="en-US" sz="1400"/>
              <a:t>parent</a:t>
            </a:r>
          </a:p>
        </p:txBody>
      </p:sp>
      <p:sp>
        <p:nvSpPr>
          <p:cNvPr id="66" name="Rectangle 124"/>
          <p:cNvSpPr>
            <a:spLocks noChangeArrowheads="1"/>
          </p:cNvSpPr>
          <p:nvPr/>
        </p:nvSpPr>
        <p:spPr bwMode="auto">
          <a:xfrm>
            <a:off x="9562308" y="4008438"/>
            <a:ext cx="76517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 dirty="0" err="1"/>
              <a:t>Parenting</a:t>
            </a:r>
            <a:br>
              <a:rPr lang="de-DE" altLang="en-US" sz="1400" dirty="0"/>
            </a:br>
            <a:r>
              <a:rPr lang="de-DE" altLang="en-US" sz="1400" dirty="0" err="1"/>
              <a:t>advan</a:t>
            </a:r>
            <a:r>
              <a:rPr lang="de-DE" altLang="en-US" sz="1400" dirty="0"/>
              <a:t>-</a:t>
            </a:r>
            <a:br>
              <a:rPr lang="de-DE" altLang="en-US" sz="1400" dirty="0"/>
            </a:br>
            <a:r>
              <a:rPr lang="de-DE" altLang="en-US" sz="1400" dirty="0"/>
              <a:t>tage</a:t>
            </a:r>
          </a:p>
        </p:txBody>
      </p:sp>
      <p:sp>
        <p:nvSpPr>
          <p:cNvPr id="67" name="Ellipse 6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2308" y="4632325"/>
            <a:ext cx="274637" cy="274638"/>
          </a:xfrm>
          <a:prstGeom prst="ellipse">
            <a:avLst/>
          </a:prstGeom>
          <a:solidFill>
            <a:srgbClr val="7D9F3F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>
              <a:solidFill>
                <a:srgbClr val="FFFFFF"/>
              </a:solidFill>
            </a:endParaRPr>
          </a:p>
        </p:txBody>
      </p:sp>
      <p:sp>
        <p:nvSpPr>
          <p:cNvPr id="68" name="Rectangle 124"/>
          <p:cNvSpPr>
            <a:spLocks noChangeArrowheads="1"/>
          </p:cNvSpPr>
          <p:nvPr/>
        </p:nvSpPr>
        <p:spPr bwMode="auto">
          <a:xfrm>
            <a:off x="9638507" y="4679950"/>
            <a:ext cx="120650" cy="179388"/>
          </a:xfrm>
          <a:prstGeom prst="rect">
            <a:avLst/>
          </a:prstGeom>
          <a:solidFill>
            <a:srgbClr val="7D9F3F"/>
          </a:solidFill>
          <a:ln>
            <a:noFill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>
                <a:solidFill>
                  <a:srgbClr val="FFFFFF"/>
                </a:solidFill>
              </a:rPr>
              <a:t>A</a:t>
            </a:r>
          </a:p>
        </p:txBody>
      </p:sp>
      <p:sp>
        <p:nvSpPr>
          <p:cNvPr id="69" name="Ellipse 7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0958" y="4838700"/>
            <a:ext cx="274637" cy="274638"/>
          </a:xfrm>
          <a:prstGeom prst="ellipse">
            <a:avLst/>
          </a:prstGeom>
          <a:solidFill>
            <a:srgbClr val="7D9F3F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>
              <a:solidFill>
                <a:srgbClr val="FFFFFF"/>
              </a:solidFill>
            </a:endParaRPr>
          </a:p>
        </p:txBody>
      </p:sp>
      <p:sp>
        <p:nvSpPr>
          <p:cNvPr id="70" name="Rectangle 124"/>
          <p:cNvSpPr>
            <a:spLocks noChangeArrowheads="1"/>
          </p:cNvSpPr>
          <p:nvPr/>
        </p:nvSpPr>
        <p:spPr bwMode="auto">
          <a:xfrm>
            <a:off x="10275094" y="4894264"/>
            <a:ext cx="120650" cy="179387"/>
          </a:xfrm>
          <a:prstGeom prst="rect">
            <a:avLst/>
          </a:prstGeom>
          <a:solidFill>
            <a:srgbClr val="7D9F3F"/>
          </a:solidFill>
          <a:ln>
            <a:noFill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>
                <a:solidFill>
                  <a:srgbClr val="FFFFFF"/>
                </a:solidFill>
              </a:rPr>
              <a:t>B</a:t>
            </a:r>
          </a:p>
        </p:txBody>
      </p:sp>
      <p:sp>
        <p:nvSpPr>
          <p:cNvPr id="71" name="Ellipse 7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87808" y="4008439"/>
            <a:ext cx="274637" cy="276225"/>
          </a:xfrm>
          <a:prstGeom prst="ellipse">
            <a:avLst/>
          </a:prstGeom>
          <a:solidFill>
            <a:srgbClr val="7D9F3F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de-DE" altLang="en-US">
              <a:solidFill>
                <a:srgbClr val="FFFFFF"/>
              </a:solidFill>
            </a:endParaRPr>
          </a:p>
        </p:txBody>
      </p:sp>
      <p:sp>
        <p:nvSpPr>
          <p:cNvPr id="72" name="Rectangle 124"/>
          <p:cNvSpPr>
            <a:spLocks noChangeArrowheads="1"/>
          </p:cNvSpPr>
          <p:nvPr/>
        </p:nvSpPr>
        <p:spPr bwMode="auto">
          <a:xfrm>
            <a:off x="10457658" y="4057650"/>
            <a:ext cx="130175" cy="179388"/>
          </a:xfrm>
          <a:prstGeom prst="rect">
            <a:avLst/>
          </a:prstGeom>
          <a:solidFill>
            <a:srgbClr val="7D9F3F"/>
          </a:solidFill>
          <a:ln>
            <a:noFill/>
          </a:ln>
        </p:spPr>
        <p:txBody>
          <a:bodyPr wrap="none" lIns="0" tIns="0" rIns="0" bIns="0">
            <a:noAutofit/>
          </a:bodyPr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400"/>
              </a:lnSpc>
            </a:pPr>
            <a:r>
              <a:rPr lang="de-DE" altLang="en-US" sz="1400">
                <a:solidFill>
                  <a:srgbClr val="FFFFFF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408570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078B0E4A-8376-44AF-BD59-7D57F8AC0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29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6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A14F07-DCF1-49AC-BF4C-C63D3B776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am the “Action Title,” and I am written in type size 24 pt. bold, line spacing “exact” 24 p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912A75-80B5-4BC0-BD67-92F4FDB0F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I am the subtitle, I am written in 18 pt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D7A2CD-32CB-41DA-9D79-3F0760807A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651D1B4-9FA0-4A6D-945C-86C4E7774D6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b="0" dirty="0"/>
              <a:t>I am the remaining slide 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 am written in Arial, like everything 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My font size is like the 'subtitle' 18 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 me, as well as in the rest of the slide text, there should be no </a:t>
            </a:r>
            <a:r>
              <a:rPr lang="en-US" b="0" u="sng" dirty="0"/>
              <a:t>underlining</a:t>
            </a:r>
            <a:r>
              <a:rPr lang="en-US" b="0" dirty="0"/>
              <a:t> or </a:t>
            </a:r>
            <a:r>
              <a:rPr lang="en-US" b="0" i="1" dirty="0"/>
              <a:t>ital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We emphasize by</a:t>
            </a:r>
            <a:r>
              <a:rPr lang="en-US" dirty="0"/>
              <a:t> using bold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We try to avoid deeply nested lists with multiple levels – that is usually a sign that something should be show using different visual techniques like a table or box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nimations should only be used in exceptional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Graphic elements are </a:t>
            </a:r>
            <a:r>
              <a:rPr lang="en-US" dirty="0"/>
              <a:t>absolutely never </a:t>
            </a:r>
            <a:r>
              <a:rPr lang="en-US" b="0" dirty="0"/>
              <a:t>set to “Resize shape to fit tex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We use proper (rounded, American-style) “quotation marks” and apostrophe’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cxnSp>
        <p:nvCxnSpPr>
          <p:cNvPr id="13" name="Gerade Verbindung 8">
            <a:extLst>
              <a:ext uri="{FF2B5EF4-FFF2-40B4-BE49-F238E27FC236}">
                <a16:creationId xmlns:a16="http://schemas.microsoft.com/office/drawing/2014/main" id="{C1F31ACB-ECF2-4E07-9B53-67BF3CEC86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585123" y="5216501"/>
            <a:ext cx="589290" cy="0"/>
          </a:xfrm>
          <a:prstGeom prst="line">
            <a:avLst/>
          </a:prstGeom>
          <a:ln w="19050">
            <a:solidFill>
              <a:srgbClr val="7D9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2">
            <a:extLst>
              <a:ext uri="{FF2B5EF4-FFF2-40B4-BE49-F238E27FC236}">
                <a16:creationId xmlns:a16="http://schemas.microsoft.com/office/drawing/2014/main" id="{ADC72652-4DE9-415D-970B-E6BB64E57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585123" y="5504533"/>
            <a:ext cx="589290" cy="0"/>
          </a:xfrm>
          <a:prstGeom prst="straightConnector1">
            <a:avLst/>
          </a:prstGeom>
          <a:ln w="19050">
            <a:solidFill>
              <a:srgbClr val="7D9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2">
            <a:extLst>
              <a:ext uri="{FF2B5EF4-FFF2-40B4-BE49-F238E27FC236}">
                <a16:creationId xmlns:a16="http://schemas.microsoft.com/office/drawing/2014/main" id="{8EA498E4-E4D5-4862-A85B-2AF1B4DAC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5125" y="5712087"/>
            <a:ext cx="589289" cy="439813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104269" tIns="52135" rIns="104269" bIns="52135" anchor="ctr"/>
          <a:lstStyle/>
          <a:p>
            <a:pPr defTabSz="1042872">
              <a:lnSpc>
                <a:spcPts val="2052"/>
              </a:lnSpc>
              <a:spcBef>
                <a:spcPts val="456"/>
              </a:spcBef>
            </a:pPr>
            <a:endParaRPr lang="en-US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Geschweifte Klammer rechts 14">
            <a:extLst>
              <a:ext uri="{FF2B5EF4-FFF2-40B4-BE49-F238E27FC236}">
                <a16:creationId xmlns:a16="http://schemas.microsoft.com/office/drawing/2014/main" id="{7FE2215F-BF68-453C-A65B-20177D4F8F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540806" y="5000477"/>
            <a:ext cx="420922" cy="1350233"/>
          </a:xfrm>
          <a:prstGeom prst="rightBrace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87" tIns="52144" rIns="104287" bIns="52144" spcCol="0" rtlCol="0" anchor="ctr"/>
          <a:lstStyle/>
          <a:p>
            <a:pPr algn="ctr"/>
            <a:endParaRPr lang="en-US" dirty="0"/>
          </a:p>
        </p:txBody>
      </p:sp>
      <p:sp>
        <p:nvSpPr>
          <p:cNvPr id="17" name="Textfeld 15">
            <a:extLst>
              <a:ext uri="{FF2B5EF4-FFF2-40B4-BE49-F238E27FC236}">
                <a16:creationId xmlns:a16="http://schemas.microsoft.com/office/drawing/2014/main" id="{1B3F78AA-724E-4A35-93BD-318A5EA6E23D}"/>
              </a:ext>
            </a:extLst>
          </p:cNvPr>
          <p:cNvSpPr txBox="1"/>
          <p:nvPr/>
        </p:nvSpPr>
        <p:spPr>
          <a:xfrm>
            <a:off x="3123456" y="5179104"/>
            <a:ext cx="1944216" cy="659304"/>
          </a:xfrm>
          <a:prstGeom prst="rect">
            <a:avLst/>
          </a:prstGeom>
          <a:noFill/>
          <a:ln w="19050">
            <a:solidFill>
              <a:srgbClr val="7D9F3F"/>
            </a:solidFill>
          </a:ln>
        </p:spPr>
        <p:txBody>
          <a:bodyPr wrap="square" lIns="104287" tIns="52144" rIns="104287" bIns="52144" rtlCol="0">
            <a:spAutoFit/>
          </a:bodyPr>
          <a:lstStyle/>
          <a:p>
            <a:r>
              <a:rPr lang="en-US" dirty="0">
                <a:cs typeface="Arial" panose="020B0604020202020204" pitchFamily="34" charset="0"/>
              </a:rPr>
              <a:t>We are usually green and 1,5 pt.</a:t>
            </a:r>
          </a:p>
        </p:txBody>
      </p:sp>
    </p:spTree>
    <p:extLst>
      <p:ext uri="{BB962C8B-B14F-4D97-AF65-F5344CB8AC3E}">
        <p14:creationId xmlns:p14="http://schemas.microsoft.com/office/powerpoint/2010/main" val="16426119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502362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1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se are the colors we use</a:t>
            </a:r>
          </a:p>
        </p:txBody>
      </p:sp>
      <p:sp>
        <p:nvSpPr>
          <p:cNvPr id="6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olor palett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AFA092E-8F70-43C7-BA00-1706E37C0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123388" y="2082959"/>
            <a:ext cx="11184046" cy="4687729"/>
            <a:chOff x="1123388" y="2082959"/>
            <a:chExt cx="11184046" cy="4982694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2FB32F73-F9DD-4E1B-AAB5-1A977C9BF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3388" y="2082959"/>
              <a:ext cx="3872276" cy="2491347"/>
            </a:xfrm>
            <a:prstGeom prst="rect">
              <a:avLst/>
            </a:prstGeom>
            <a:solidFill>
              <a:srgbClr val="7D9F3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Green</a:t>
              </a:r>
            </a:p>
            <a:p>
              <a:pPr algn="ctr">
                <a:defRPr/>
              </a:pPr>
              <a:endParaRPr lang="en-US" b="1" dirty="0">
                <a:solidFill>
                  <a:schemeClr val="bg1"/>
                </a:solidFill>
              </a:endParaRPr>
            </a:p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RGB: 125 / 159 / 63</a:t>
              </a:r>
            </a:p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HEX: #7D9F3F</a:t>
              </a:r>
            </a:p>
          </p:txBody>
        </p:sp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5F2780EB-A1C9-457E-8D37-ADB94273F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35158" y="2082959"/>
              <a:ext cx="3872276" cy="2491347"/>
            </a:xfrm>
            <a:prstGeom prst="rect">
              <a:avLst/>
            </a:prstGeom>
            <a:solidFill>
              <a:srgbClr val="FFAA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Highlight color orange</a:t>
              </a:r>
            </a:p>
            <a:p>
              <a:pPr algn="ctr">
                <a:defRPr/>
              </a:pPr>
              <a:endParaRPr lang="en-US" b="1" dirty="0">
                <a:solidFill>
                  <a:schemeClr val="tx1"/>
                </a:solidFill>
              </a:endParaRPr>
            </a:p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RGB: 255 / 170 / 0</a:t>
              </a:r>
            </a:p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HEX: #FFAA00</a:t>
              </a:r>
            </a:p>
          </p:txBody>
        </p:sp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7A340E57-2D28-47E3-8871-DBEAD5024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5664" y="2082959"/>
              <a:ext cx="3439494" cy="249134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Different shades of gray </a:t>
              </a:r>
              <a:br>
                <a:rPr lang="en-US" b="1" dirty="0">
                  <a:solidFill>
                    <a:schemeClr val="bg1"/>
                  </a:solidFill>
                </a:rPr>
              </a:br>
              <a:r>
                <a:rPr lang="en-US" b="1" dirty="0">
                  <a:solidFill>
                    <a:schemeClr val="bg1"/>
                  </a:solidFill>
                </a:rPr>
                <a:t>as we please</a:t>
              </a:r>
              <a:endParaRPr dirty="0"/>
            </a:p>
          </p:txBody>
        </p:sp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2D45C2D8-3839-4252-B980-6296DBC659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5664" y="4574306"/>
              <a:ext cx="3439494" cy="2491347"/>
            </a:xfrm>
            <a:prstGeom prst="rect">
              <a:avLst/>
            </a:prstGeom>
            <a:solidFill>
              <a:srgbClr val="F0F0F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Different shades of gray </a:t>
              </a:r>
              <a:br>
                <a:rPr lang="en-US" b="1" dirty="0">
                  <a:solidFill>
                    <a:schemeClr val="tx1"/>
                  </a:solidFill>
                </a:rPr>
              </a:br>
              <a:r>
                <a:rPr lang="en-US" b="1" dirty="0">
                  <a:solidFill>
                    <a:schemeClr val="tx1"/>
                  </a:solidFill>
                </a:rPr>
                <a:t>as we please</a:t>
              </a:r>
              <a:endParaRPr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945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704364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67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se are our logos</a:t>
            </a:r>
            <a:endParaRPr lang="en-US" dirty="0"/>
          </a:p>
        </p:txBody>
      </p:sp>
      <p:sp>
        <p:nvSpPr>
          <p:cNvPr id="6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Logos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F1D019E-AAE3-454D-AE92-6A4F46AA47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2048" y="2815855"/>
            <a:ext cx="3219450" cy="514350"/>
          </a:xfrm>
          <a:prstGeom prst="rect">
            <a:avLst/>
          </a:prstGeom>
        </p:spPr>
      </p:pic>
      <p:sp>
        <p:nvSpPr>
          <p:cNvPr id="17" name="Rectangle 186">
            <a:extLst>
              <a:ext uri="{FF2B5EF4-FFF2-40B4-BE49-F238E27FC236}">
                <a16:creationId xmlns:a16="http://schemas.microsoft.com/office/drawing/2014/main" id="{3BD7CC54-48D3-47ED-971E-B086EFAB3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7143" y="2846115"/>
            <a:ext cx="319478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. Dr. Lorenz Graf-Vlachy</a:t>
            </a:r>
          </a:p>
          <a:p>
            <a:pPr defTabSz="358793">
              <a:defRPr/>
            </a:pPr>
            <a:endParaRPr lang="en-US" sz="1000" dirty="0">
              <a:latin typeface="+mn-lt"/>
              <a:cs typeface="Arial" pitchFamily="34" charset="0"/>
            </a:endParaRP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essorship for Strategic Management and Leadership</a:t>
            </a: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TU Dortmund University</a:t>
            </a:r>
            <a:endParaRPr lang="en-US" sz="1000" dirty="0">
              <a:latin typeface="+mn-lt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78F7930D-D07E-4AC8-966E-B51A1E5D3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59724" y="2893330"/>
            <a:ext cx="521121" cy="521121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8EA2E6AF-1815-4E78-9C83-1FFED327B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452048" y="4753348"/>
            <a:ext cx="3216116" cy="518092"/>
            <a:chOff x="8452048" y="4753348"/>
            <a:chExt cx="3216116" cy="518092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1998D3D-D8F6-4631-AE23-15FCC281A3FB}"/>
                </a:ext>
              </a:extLst>
            </p:cNvPr>
            <p:cNvSpPr/>
            <p:nvPr/>
          </p:nvSpPr>
          <p:spPr>
            <a:xfrm>
              <a:off x="8452048" y="4753348"/>
              <a:ext cx="676846" cy="515112"/>
            </a:xfrm>
            <a:custGeom>
              <a:avLst/>
              <a:gdLst>
                <a:gd name="connsiteX0" fmla="*/ 607028 w 676846"/>
                <a:gd name="connsiteY0" fmla="*/ 142875 h 515112"/>
                <a:gd name="connsiteX1" fmla="*/ 607028 w 676846"/>
                <a:gd name="connsiteY1" fmla="*/ 392716 h 515112"/>
                <a:gd name="connsiteX2" fmla="*/ 554831 w 676846"/>
                <a:gd name="connsiteY2" fmla="*/ 444818 h 515112"/>
                <a:gd name="connsiteX3" fmla="*/ 463487 w 676846"/>
                <a:gd name="connsiteY3" fmla="*/ 444818 h 515112"/>
                <a:gd name="connsiteX4" fmla="*/ 411385 w 676846"/>
                <a:gd name="connsiteY4" fmla="*/ 392716 h 515112"/>
                <a:gd name="connsiteX5" fmla="*/ 411385 w 676846"/>
                <a:gd name="connsiteY5" fmla="*/ 142875 h 515112"/>
                <a:gd name="connsiteX6" fmla="*/ 143542 w 676846"/>
                <a:gd name="connsiteY6" fmla="*/ 142875 h 515112"/>
                <a:gd name="connsiteX7" fmla="*/ 143542 w 676846"/>
                <a:gd name="connsiteY7" fmla="*/ 0 h 515112"/>
                <a:gd name="connsiteX8" fmla="*/ 73533 w 676846"/>
                <a:gd name="connsiteY8" fmla="*/ 0 h 515112"/>
                <a:gd name="connsiteX9" fmla="*/ 73533 w 676846"/>
                <a:gd name="connsiteY9" fmla="*/ 142875 h 515112"/>
                <a:gd name="connsiteX10" fmla="*/ 0 w 676846"/>
                <a:gd name="connsiteY10" fmla="*/ 142875 h 515112"/>
                <a:gd name="connsiteX11" fmla="*/ 0 w 676846"/>
                <a:gd name="connsiteY11" fmla="*/ 213551 h 515112"/>
                <a:gd name="connsiteX12" fmla="*/ 73533 w 676846"/>
                <a:gd name="connsiteY12" fmla="*/ 213551 h 515112"/>
                <a:gd name="connsiteX13" fmla="*/ 73533 w 676846"/>
                <a:gd name="connsiteY13" fmla="*/ 391287 h 515112"/>
                <a:gd name="connsiteX14" fmla="*/ 195644 w 676846"/>
                <a:gd name="connsiteY14" fmla="*/ 515112 h 515112"/>
                <a:gd name="connsiteX15" fmla="*/ 232029 w 676846"/>
                <a:gd name="connsiteY15" fmla="*/ 515112 h 515112"/>
                <a:gd name="connsiteX16" fmla="*/ 233458 w 676846"/>
                <a:gd name="connsiteY16" fmla="*/ 444437 h 515112"/>
                <a:gd name="connsiteX17" fmla="*/ 195358 w 676846"/>
                <a:gd name="connsiteY17" fmla="*/ 444437 h 515112"/>
                <a:gd name="connsiteX18" fmla="*/ 143256 w 676846"/>
                <a:gd name="connsiteY18" fmla="*/ 391573 h 515112"/>
                <a:gd name="connsiteX19" fmla="*/ 143256 w 676846"/>
                <a:gd name="connsiteY19" fmla="*/ 213551 h 515112"/>
                <a:gd name="connsiteX20" fmla="*/ 341281 w 676846"/>
                <a:gd name="connsiteY20" fmla="*/ 213551 h 515112"/>
                <a:gd name="connsiteX21" fmla="*/ 341281 w 676846"/>
                <a:gd name="connsiteY21" fmla="*/ 392716 h 515112"/>
                <a:gd name="connsiteX22" fmla="*/ 463391 w 676846"/>
                <a:gd name="connsiteY22" fmla="*/ 514826 h 515112"/>
                <a:gd name="connsiteX23" fmla="*/ 554736 w 676846"/>
                <a:gd name="connsiteY23" fmla="*/ 514826 h 515112"/>
                <a:gd name="connsiteX24" fmla="*/ 676847 w 676846"/>
                <a:gd name="connsiteY24" fmla="*/ 392716 h 515112"/>
                <a:gd name="connsiteX25" fmla="*/ 676847 w 676846"/>
                <a:gd name="connsiteY25" fmla="*/ 142875 h 51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76846" h="515112">
                  <a:moveTo>
                    <a:pt x="607028" y="142875"/>
                  </a:moveTo>
                  <a:lnTo>
                    <a:pt x="607028" y="392716"/>
                  </a:lnTo>
                  <a:cubicBezTo>
                    <a:pt x="607028" y="428435"/>
                    <a:pt x="588455" y="444818"/>
                    <a:pt x="554831" y="444818"/>
                  </a:cubicBezTo>
                  <a:lnTo>
                    <a:pt x="463487" y="444818"/>
                  </a:lnTo>
                  <a:cubicBezTo>
                    <a:pt x="429863" y="444818"/>
                    <a:pt x="411385" y="428435"/>
                    <a:pt x="411385" y="392716"/>
                  </a:cubicBezTo>
                  <a:lnTo>
                    <a:pt x="411385" y="142875"/>
                  </a:lnTo>
                  <a:lnTo>
                    <a:pt x="143542" y="142875"/>
                  </a:lnTo>
                  <a:lnTo>
                    <a:pt x="143542" y="0"/>
                  </a:lnTo>
                  <a:lnTo>
                    <a:pt x="73533" y="0"/>
                  </a:lnTo>
                  <a:lnTo>
                    <a:pt x="73533" y="142875"/>
                  </a:lnTo>
                  <a:lnTo>
                    <a:pt x="0" y="142875"/>
                  </a:lnTo>
                  <a:lnTo>
                    <a:pt x="0" y="213551"/>
                  </a:lnTo>
                  <a:lnTo>
                    <a:pt x="73533" y="213551"/>
                  </a:lnTo>
                  <a:lnTo>
                    <a:pt x="73533" y="391287"/>
                  </a:lnTo>
                  <a:cubicBezTo>
                    <a:pt x="73533" y="467487"/>
                    <a:pt x="124968" y="515112"/>
                    <a:pt x="195644" y="515112"/>
                  </a:cubicBezTo>
                  <a:lnTo>
                    <a:pt x="232029" y="515112"/>
                  </a:lnTo>
                  <a:lnTo>
                    <a:pt x="233458" y="444437"/>
                  </a:lnTo>
                  <a:lnTo>
                    <a:pt x="195358" y="444437"/>
                  </a:lnTo>
                  <a:cubicBezTo>
                    <a:pt x="161830" y="444437"/>
                    <a:pt x="143256" y="426625"/>
                    <a:pt x="143256" y="391573"/>
                  </a:cubicBezTo>
                  <a:lnTo>
                    <a:pt x="143256" y="213551"/>
                  </a:lnTo>
                  <a:lnTo>
                    <a:pt x="341281" y="213551"/>
                  </a:lnTo>
                  <a:lnTo>
                    <a:pt x="341281" y="392716"/>
                  </a:lnTo>
                  <a:cubicBezTo>
                    <a:pt x="341281" y="468440"/>
                    <a:pt x="394145" y="514826"/>
                    <a:pt x="463391" y="514826"/>
                  </a:cubicBezTo>
                  <a:lnTo>
                    <a:pt x="554736" y="514826"/>
                  </a:lnTo>
                  <a:cubicBezTo>
                    <a:pt x="623983" y="514826"/>
                    <a:pt x="676847" y="468440"/>
                    <a:pt x="676847" y="392716"/>
                  </a:cubicBezTo>
                  <a:lnTo>
                    <a:pt x="676847" y="142875"/>
                  </a:lnTo>
                  <a:close/>
                </a:path>
              </a:pathLst>
            </a:custGeom>
            <a:solidFill>
              <a:srgbClr val="83B8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1" name="Graphic 18">
              <a:extLst>
                <a:ext uri="{FF2B5EF4-FFF2-40B4-BE49-F238E27FC236}">
                  <a16:creationId xmlns:a16="http://schemas.microsoft.com/office/drawing/2014/main" id="{EC07CCC1-707C-4B7D-8895-BA54A4EB632E}"/>
                </a:ext>
              </a:extLst>
            </p:cNvPr>
            <p:cNvGrpSpPr/>
            <p:nvPr/>
          </p:nvGrpSpPr>
          <p:grpSpPr>
            <a:xfrm>
              <a:off x="9271960" y="4845169"/>
              <a:ext cx="2396204" cy="426271"/>
              <a:chOff x="9271960" y="4845169"/>
              <a:chExt cx="2396204" cy="426271"/>
            </a:xfrm>
            <a:solidFill>
              <a:srgbClr val="000000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B5EC323-53F1-46BE-AFE8-3A2BCD9C6BF3}"/>
                  </a:ext>
                </a:extLst>
              </p:cNvPr>
              <p:cNvSpPr/>
              <p:nvPr/>
            </p:nvSpPr>
            <p:spPr>
              <a:xfrm>
                <a:off x="9271960" y="4862409"/>
                <a:ext cx="74961" cy="157638"/>
              </a:xfrm>
              <a:custGeom>
                <a:avLst/>
                <a:gdLst>
                  <a:gd name="connsiteX0" fmla="*/ 54959 w 74961"/>
                  <a:gd name="connsiteY0" fmla="*/ 157639 h 157638"/>
                  <a:gd name="connsiteX1" fmla="*/ 24003 w 74961"/>
                  <a:gd name="connsiteY1" fmla="*/ 122587 h 157638"/>
                  <a:gd name="connsiteX2" fmla="*/ 24003 w 74961"/>
                  <a:gd name="connsiteY2" fmla="*/ 46958 h 157638"/>
                  <a:gd name="connsiteX3" fmla="*/ 0 w 74961"/>
                  <a:gd name="connsiteY3" fmla="*/ 46958 h 157638"/>
                  <a:gd name="connsiteX4" fmla="*/ 0 w 74961"/>
                  <a:gd name="connsiteY4" fmla="*/ 36004 h 157638"/>
                  <a:gd name="connsiteX5" fmla="*/ 24003 w 74961"/>
                  <a:gd name="connsiteY5" fmla="*/ 36004 h 157638"/>
                  <a:gd name="connsiteX6" fmla="*/ 24003 w 74961"/>
                  <a:gd name="connsiteY6" fmla="*/ 2858 h 157638"/>
                  <a:gd name="connsiteX7" fmla="*/ 36004 w 74961"/>
                  <a:gd name="connsiteY7" fmla="*/ 0 h 157638"/>
                  <a:gd name="connsiteX8" fmla="*/ 36004 w 74961"/>
                  <a:gd name="connsiteY8" fmla="*/ 36004 h 157638"/>
                  <a:gd name="connsiteX9" fmla="*/ 73152 w 74961"/>
                  <a:gd name="connsiteY9" fmla="*/ 36004 h 157638"/>
                  <a:gd name="connsiteX10" fmla="*/ 73152 w 74961"/>
                  <a:gd name="connsiteY10" fmla="*/ 47053 h 157638"/>
                  <a:gd name="connsiteX11" fmla="*/ 36004 w 74961"/>
                  <a:gd name="connsiteY11" fmla="*/ 47053 h 157638"/>
                  <a:gd name="connsiteX12" fmla="*/ 36004 w 74961"/>
                  <a:gd name="connsiteY12" fmla="*/ 122111 h 157638"/>
                  <a:gd name="connsiteX13" fmla="*/ 55912 w 74961"/>
                  <a:gd name="connsiteY13" fmla="*/ 146304 h 157638"/>
                  <a:gd name="connsiteX14" fmla="*/ 74962 w 74961"/>
                  <a:gd name="connsiteY14" fmla="*/ 144113 h 157638"/>
                  <a:gd name="connsiteX15" fmla="*/ 74962 w 74961"/>
                  <a:gd name="connsiteY15" fmla="*/ 154686 h 157638"/>
                  <a:gd name="connsiteX16" fmla="*/ 55054 w 74961"/>
                  <a:gd name="connsiteY16" fmla="*/ 157544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961" h="157638">
                    <a:moveTo>
                      <a:pt x="54959" y="157639"/>
                    </a:moveTo>
                    <a:cubicBezTo>
                      <a:pt x="32671" y="157639"/>
                      <a:pt x="24003" y="143447"/>
                      <a:pt x="24003" y="122587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8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3152" y="36004"/>
                    </a:lnTo>
                    <a:lnTo>
                      <a:pt x="73152" y="47053"/>
                    </a:lnTo>
                    <a:lnTo>
                      <a:pt x="36004" y="47053"/>
                    </a:lnTo>
                    <a:lnTo>
                      <a:pt x="36004" y="122111"/>
                    </a:lnTo>
                    <a:cubicBezTo>
                      <a:pt x="36004" y="136303"/>
                      <a:pt x="39815" y="146304"/>
                      <a:pt x="55912" y="146304"/>
                    </a:cubicBezTo>
                    <a:cubicBezTo>
                      <a:pt x="62316" y="146173"/>
                      <a:pt x="68694" y="145439"/>
                      <a:pt x="74962" y="144113"/>
                    </a:cubicBezTo>
                    <a:lnTo>
                      <a:pt x="74962" y="154686"/>
                    </a:lnTo>
                    <a:cubicBezTo>
                      <a:pt x="68447" y="156343"/>
                      <a:pt x="61772" y="157302"/>
                      <a:pt x="5505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1C5802D-04EF-420A-B00A-66391FD1A9E9}"/>
                  </a:ext>
                </a:extLst>
              </p:cNvPr>
              <p:cNvSpPr/>
              <p:nvPr/>
            </p:nvSpPr>
            <p:spPr>
              <a:xfrm>
                <a:off x="9366337" y="4895264"/>
                <a:ext cx="103932" cy="125939"/>
              </a:xfrm>
              <a:custGeom>
                <a:avLst/>
                <a:gdLst>
                  <a:gd name="connsiteX0" fmla="*/ 52117 w 103932"/>
                  <a:gd name="connsiteY0" fmla="*/ 11246 h 125939"/>
                  <a:gd name="connsiteX1" fmla="*/ 11727 w 103932"/>
                  <a:gd name="connsiteY1" fmla="*/ 52387 h 125939"/>
                  <a:gd name="connsiteX2" fmla="*/ 11826 w 103932"/>
                  <a:gd name="connsiteY2" fmla="*/ 54870 h 125939"/>
                  <a:gd name="connsiteX3" fmla="*/ 91169 w 103932"/>
                  <a:gd name="connsiteY3" fmla="*/ 54870 h 125939"/>
                  <a:gd name="connsiteX4" fmla="*/ 52117 w 103932"/>
                  <a:gd name="connsiteY4" fmla="*/ 11246 h 125939"/>
                  <a:gd name="connsiteX5" fmla="*/ 103171 w 103932"/>
                  <a:gd name="connsiteY5" fmla="*/ 65919 h 125939"/>
                  <a:gd name="connsiteX6" fmla="*/ 11635 w 103932"/>
                  <a:gd name="connsiteY6" fmla="*/ 65919 h 125939"/>
                  <a:gd name="connsiteX7" fmla="*/ 24113 w 103932"/>
                  <a:gd name="connsiteY7" fmla="*/ 101828 h 125939"/>
                  <a:gd name="connsiteX8" fmla="*/ 52688 w 103932"/>
                  <a:gd name="connsiteY8" fmla="*/ 114497 h 125939"/>
                  <a:gd name="connsiteX9" fmla="*/ 78787 w 103932"/>
                  <a:gd name="connsiteY9" fmla="*/ 103924 h 125939"/>
                  <a:gd name="connsiteX10" fmla="*/ 88312 w 103932"/>
                  <a:gd name="connsiteY10" fmla="*/ 86874 h 125939"/>
                  <a:gd name="connsiteX11" fmla="*/ 100789 w 103932"/>
                  <a:gd name="connsiteY11" fmla="*/ 86874 h 125939"/>
                  <a:gd name="connsiteX12" fmla="*/ 87359 w 103932"/>
                  <a:gd name="connsiteY12" fmla="*/ 112020 h 125939"/>
                  <a:gd name="connsiteX13" fmla="*/ 53069 w 103932"/>
                  <a:gd name="connsiteY13" fmla="*/ 125927 h 125939"/>
                  <a:gd name="connsiteX14" fmla="*/ 14969 w 103932"/>
                  <a:gd name="connsiteY14" fmla="*/ 108972 h 125939"/>
                  <a:gd name="connsiteX15" fmla="*/ 110 w 103932"/>
                  <a:gd name="connsiteY15" fmla="*/ 63538 h 125939"/>
                  <a:gd name="connsiteX16" fmla="*/ 11826 w 103932"/>
                  <a:gd name="connsiteY16" fmla="*/ 20866 h 125939"/>
                  <a:gd name="connsiteX17" fmla="*/ 52593 w 103932"/>
                  <a:gd name="connsiteY17" fmla="*/ 6 h 125939"/>
                  <a:gd name="connsiteX18" fmla="*/ 103933 w 103932"/>
                  <a:gd name="connsiteY18" fmla="*/ 58013 h 125939"/>
                  <a:gd name="connsiteX19" fmla="*/ 103933 w 103932"/>
                  <a:gd name="connsiteY19" fmla="*/ 65919 h 12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932" h="125939">
                    <a:moveTo>
                      <a:pt x="52117" y="11246"/>
                    </a:moveTo>
                    <a:cubicBezTo>
                      <a:pt x="29602" y="11453"/>
                      <a:pt x="11519" y="29873"/>
                      <a:pt x="11727" y="52387"/>
                    </a:cubicBezTo>
                    <a:cubicBezTo>
                      <a:pt x="11734" y="53216"/>
                      <a:pt x="11768" y="54043"/>
                      <a:pt x="11826" y="54870"/>
                    </a:cubicBezTo>
                    <a:lnTo>
                      <a:pt x="91169" y="54870"/>
                    </a:lnTo>
                    <a:cubicBezTo>
                      <a:pt x="91169" y="32105"/>
                      <a:pt x="76501" y="11246"/>
                      <a:pt x="52117" y="11246"/>
                    </a:cubicBezTo>
                    <a:moveTo>
                      <a:pt x="103171" y="65919"/>
                    </a:moveTo>
                    <a:lnTo>
                      <a:pt x="11635" y="65919"/>
                    </a:lnTo>
                    <a:cubicBezTo>
                      <a:pt x="11628" y="78953"/>
                      <a:pt x="16025" y="91607"/>
                      <a:pt x="24113" y="101828"/>
                    </a:cubicBezTo>
                    <a:cubicBezTo>
                      <a:pt x="31213" y="110181"/>
                      <a:pt x="41734" y="114844"/>
                      <a:pt x="52688" y="114497"/>
                    </a:cubicBezTo>
                    <a:cubicBezTo>
                      <a:pt x="62470" y="114706"/>
                      <a:pt x="71910" y="110883"/>
                      <a:pt x="78787" y="103924"/>
                    </a:cubicBezTo>
                    <a:cubicBezTo>
                      <a:pt x="83597" y="99319"/>
                      <a:pt x="86911" y="93381"/>
                      <a:pt x="88312" y="86874"/>
                    </a:cubicBezTo>
                    <a:lnTo>
                      <a:pt x="100789" y="86874"/>
                    </a:lnTo>
                    <a:cubicBezTo>
                      <a:pt x="99199" y="96505"/>
                      <a:pt x="94474" y="105343"/>
                      <a:pt x="87359" y="112020"/>
                    </a:cubicBezTo>
                    <a:cubicBezTo>
                      <a:pt x="78272" y="121088"/>
                      <a:pt x="65909" y="126103"/>
                      <a:pt x="53069" y="125927"/>
                    </a:cubicBezTo>
                    <a:cubicBezTo>
                      <a:pt x="38467" y="126264"/>
                      <a:pt x="24490" y="120042"/>
                      <a:pt x="14969" y="108972"/>
                    </a:cubicBezTo>
                    <a:cubicBezTo>
                      <a:pt x="4780" y="96071"/>
                      <a:pt x="-487" y="79967"/>
                      <a:pt x="110" y="63538"/>
                    </a:cubicBezTo>
                    <a:cubicBezTo>
                      <a:pt x="-742" y="48417"/>
                      <a:pt x="3372" y="33431"/>
                      <a:pt x="11826" y="20866"/>
                    </a:cubicBezTo>
                    <a:cubicBezTo>
                      <a:pt x="21102" y="7568"/>
                      <a:pt x="36381" y="-250"/>
                      <a:pt x="52593" y="6"/>
                    </a:cubicBezTo>
                    <a:cubicBezTo>
                      <a:pt x="84978" y="6"/>
                      <a:pt x="103933" y="27819"/>
                      <a:pt x="103933" y="58013"/>
                    </a:cubicBezTo>
                    <a:cubicBezTo>
                      <a:pt x="103933" y="60871"/>
                      <a:pt x="103933" y="63062"/>
                      <a:pt x="103933" y="6591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D6F9EFB-720E-4D11-AEFD-85583DCB15E3}"/>
                  </a:ext>
                </a:extLst>
              </p:cNvPr>
              <p:cNvSpPr/>
              <p:nvPr/>
            </p:nvSpPr>
            <p:spPr>
              <a:xfrm>
                <a:off x="9495198" y="4895233"/>
                <a:ext cx="98992" cy="126345"/>
              </a:xfrm>
              <a:custGeom>
                <a:avLst/>
                <a:gdLst>
                  <a:gd name="connsiteX0" fmla="*/ 52224 w 98992"/>
                  <a:gd name="connsiteY0" fmla="*/ 126148 h 126345"/>
                  <a:gd name="connsiteX1" fmla="*/ 16982 w 98992"/>
                  <a:gd name="connsiteY1" fmla="*/ 111956 h 126345"/>
                  <a:gd name="connsiteX2" fmla="*/ 218 w 98992"/>
                  <a:gd name="connsiteY2" fmla="*/ 62997 h 126345"/>
                  <a:gd name="connsiteX3" fmla="*/ 16982 w 98992"/>
                  <a:gd name="connsiteY3" fmla="*/ 14134 h 126345"/>
                  <a:gd name="connsiteX4" fmla="*/ 52224 w 98992"/>
                  <a:gd name="connsiteY4" fmla="*/ 37 h 126345"/>
                  <a:gd name="connsiteX5" fmla="*/ 98516 w 98992"/>
                  <a:gd name="connsiteY5" fmla="*/ 40614 h 126345"/>
                  <a:gd name="connsiteX6" fmla="*/ 86038 w 98992"/>
                  <a:gd name="connsiteY6" fmla="*/ 40614 h 126345"/>
                  <a:gd name="connsiteX7" fmla="*/ 52224 w 98992"/>
                  <a:gd name="connsiteY7" fmla="*/ 12039 h 126345"/>
                  <a:gd name="connsiteX8" fmla="*/ 25554 w 98992"/>
                  <a:gd name="connsiteY8" fmla="*/ 22326 h 126345"/>
                  <a:gd name="connsiteX9" fmla="*/ 12410 w 98992"/>
                  <a:gd name="connsiteY9" fmla="*/ 63283 h 126345"/>
                  <a:gd name="connsiteX10" fmla="*/ 25554 w 98992"/>
                  <a:gd name="connsiteY10" fmla="*/ 104526 h 126345"/>
                  <a:gd name="connsiteX11" fmla="*/ 52224 w 98992"/>
                  <a:gd name="connsiteY11" fmla="*/ 114623 h 126345"/>
                  <a:gd name="connsiteX12" fmla="*/ 86324 w 98992"/>
                  <a:gd name="connsiteY12" fmla="*/ 85381 h 126345"/>
                  <a:gd name="connsiteX13" fmla="*/ 98992 w 98992"/>
                  <a:gd name="connsiteY13" fmla="*/ 85381 h 126345"/>
                  <a:gd name="connsiteX14" fmla="*/ 52224 w 98992"/>
                  <a:gd name="connsiteY14" fmla="*/ 126339 h 126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8992" h="126345">
                    <a:moveTo>
                      <a:pt x="52224" y="126148"/>
                    </a:moveTo>
                    <a:cubicBezTo>
                      <a:pt x="39042" y="126365"/>
                      <a:pt x="26335" y="121247"/>
                      <a:pt x="16982" y="111956"/>
                    </a:cubicBezTo>
                    <a:cubicBezTo>
                      <a:pt x="4818" y="98687"/>
                      <a:pt x="-1259" y="80941"/>
                      <a:pt x="218" y="62997"/>
                    </a:cubicBezTo>
                    <a:cubicBezTo>
                      <a:pt x="-1220" y="45088"/>
                      <a:pt x="4847" y="27386"/>
                      <a:pt x="16982" y="14134"/>
                    </a:cubicBezTo>
                    <a:cubicBezTo>
                      <a:pt x="26354" y="4887"/>
                      <a:pt x="39061" y="-194"/>
                      <a:pt x="52224" y="37"/>
                    </a:cubicBezTo>
                    <a:cubicBezTo>
                      <a:pt x="75999" y="-924"/>
                      <a:pt x="96354" y="16918"/>
                      <a:pt x="98516" y="40614"/>
                    </a:cubicBezTo>
                    <a:lnTo>
                      <a:pt x="86038" y="40614"/>
                    </a:lnTo>
                    <a:cubicBezTo>
                      <a:pt x="83666" y="23877"/>
                      <a:pt x="69122" y="11581"/>
                      <a:pt x="52224" y="12039"/>
                    </a:cubicBezTo>
                    <a:cubicBezTo>
                      <a:pt x="42290" y="11582"/>
                      <a:pt x="32612" y="15313"/>
                      <a:pt x="25554" y="22326"/>
                    </a:cubicBezTo>
                    <a:cubicBezTo>
                      <a:pt x="15848" y="33657"/>
                      <a:pt x="11114" y="48419"/>
                      <a:pt x="12410" y="63283"/>
                    </a:cubicBezTo>
                    <a:cubicBezTo>
                      <a:pt x="11105" y="78234"/>
                      <a:pt x="15839" y="93085"/>
                      <a:pt x="25554" y="104526"/>
                    </a:cubicBezTo>
                    <a:cubicBezTo>
                      <a:pt x="32641" y="111468"/>
                      <a:pt x="42318" y="115130"/>
                      <a:pt x="52224" y="114623"/>
                    </a:cubicBezTo>
                    <a:cubicBezTo>
                      <a:pt x="69331" y="114839"/>
                      <a:pt x="83933" y="102317"/>
                      <a:pt x="86324" y="85381"/>
                    </a:cubicBezTo>
                    <a:lnTo>
                      <a:pt x="98992" y="85381"/>
                    </a:lnTo>
                    <a:cubicBezTo>
                      <a:pt x="96249" y="109028"/>
                      <a:pt x="76027" y="126741"/>
                      <a:pt x="52224" y="12633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090E65C0-DEC6-4BC4-AB3B-31DC09FE18D0}"/>
                  </a:ext>
                </a:extLst>
              </p:cNvPr>
              <p:cNvSpPr/>
              <p:nvPr/>
            </p:nvSpPr>
            <p:spPr>
              <a:xfrm>
                <a:off x="9626575" y="4845169"/>
                <a:ext cx="94773" cy="173259"/>
              </a:xfrm>
              <a:custGeom>
                <a:avLst/>
                <a:gdLst>
                  <a:gd name="connsiteX0" fmla="*/ 82772 w 94773"/>
                  <a:gd name="connsiteY0" fmla="*/ 173069 h 173259"/>
                  <a:gd name="connsiteX1" fmla="*/ 82772 w 94773"/>
                  <a:gd name="connsiteY1" fmla="*/ 94678 h 173259"/>
                  <a:gd name="connsiteX2" fmla="*/ 51816 w 94773"/>
                  <a:gd name="connsiteY2" fmla="*/ 61341 h 173259"/>
                  <a:gd name="connsiteX3" fmla="*/ 12002 w 94773"/>
                  <a:gd name="connsiteY3" fmla="*/ 113062 h 173259"/>
                  <a:gd name="connsiteX4" fmla="*/ 12002 w 94773"/>
                  <a:gd name="connsiteY4" fmla="*/ 173069 h 173259"/>
                  <a:gd name="connsiteX5" fmla="*/ 0 w 94773"/>
                  <a:gd name="connsiteY5" fmla="*/ 173069 h 173259"/>
                  <a:gd name="connsiteX6" fmla="*/ 0 w 94773"/>
                  <a:gd name="connsiteY6" fmla="*/ 0 h 173259"/>
                  <a:gd name="connsiteX7" fmla="*/ 12002 w 94773"/>
                  <a:gd name="connsiteY7" fmla="*/ 0 h 173259"/>
                  <a:gd name="connsiteX8" fmla="*/ 12002 w 94773"/>
                  <a:gd name="connsiteY8" fmla="*/ 75343 h 173259"/>
                  <a:gd name="connsiteX9" fmla="*/ 52578 w 94773"/>
                  <a:gd name="connsiteY9" fmla="*/ 50197 h 173259"/>
                  <a:gd name="connsiteX10" fmla="*/ 94774 w 94773"/>
                  <a:gd name="connsiteY10" fmla="*/ 94107 h 173259"/>
                  <a:gd name="connsiteX11" fmla="*/ 94774 w 94773"/>
                  <a:gd name="connsiteY11" fmla="*/ 17326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73259">
                    <a:moveTo>
                      <a:pt x="82772" y="173069"/>
                    </a:moveTo>
                    <a:lnTo>
                      <a:pt x="82772" y="94678"/>
                    </a:lnTo>
                    <a:cubicBezTo>
                      <a:pt x="82772" y="73819"/>
                      <a:pt x="73247" y="61341"/>
                      <a:pt x="51816" y="61341"/>
                    </a:cubicBezTo>
                    <a:cubicBezTo>
                      <a:pt x="22289" y="61341"/>
                      <a:pt x="12002" y="87249"/>
                      <a:pt x="12002" y="113062"/>
                    </a:cubicBezTo>
                    <a:lnTo>
                      <a:pt x="12002" y="173069"/>
                    </a:lnTo>
                    <a:lnTo>
                      <a:pt x="0" y="173069"/>
                    </a:lnTo>
                    <a:lnTo>
                      <a:pt x="0" y="0"/>
                    </a:lnTo>
                    <a:lnTo>
                      <a:pt x="12002" y="0"/>
                    </a:lnTo>
                    <a:lnTo>
                      <a:pt x="12002" y="75343"/>
                    </a:lnTo>
                    <a:cubicBezTo>
                      <a:pt x="19555" y="59847"/>
                      <a:pt x="35338" y="50067"/>
                      <a:pt x="52578" y="50197"/>
                    </a:cubicBezTo>
                    <a:cubicBezTo>
                      <a:pt x="80105" y="50197"/>
                      <a:pt x="94774" y="67247"/>
                      <a:pt x="94774" y="94107"/>
                    </a:cubicBezTo>
                    <a:lnTo>
                      <a:pt x="94774" y="17326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0C6A67B-F411-441B-8C36-98874E11106D}"/>
                  </a:ext>
                </a:extLst>
              </p:cNvPr>
              <p:cNvSpPr/>
              <p:nvPr/>
            </p:nvSpPr>
            <p:spPr>
              <a:xfrm>
                <a:off x="9766498" y="4895269"/>
                <a:ext cx="94678" cy="123063"/>
              </a:xfrm>
              <a:custGeom>
                <a:avLst/>
                <a:gdLst>
                  <a:gd name="connsiteX0" fmla="*/ 82677 w 94678"/>
                  <a:gd name="connsiteY0" fmla="*/ 122968 h 123063"/>
                  <a:gd name="connsiteX1" fmla="*/ 82677 w 94678"/>
                  <a:gd name="connsiteY1" fmla="*/ 44578 h 123063"/>
                  <a:gd name="connsiteX2" fmla="*/ 51721 w 94678"/>
                  <a:gd name="connsiteY2" fmla="*/ 11716 h 123063"/>
                  <a:gd name="connsiteX3" fmla="*/ 11906 w 94678"/>
                  <a:gd name="connsiteY3" fmla="*/ 62961 h 123063"/>
                  <a:gd name="connsiteX4" fmla="*/ 11906 w 94678"/>
                  <a:gd name="connsiteY4" fmla="*/ 122968 h 123063"/>
                  <a:gd name="connsiteX5" fmla="*/ 0 w 94678"/>
                  <a:gd name="connsiteY5" fmla="*/ 122968 h 123063"/>
                  <a:gd name="connsiteX6" fmla="*/ 0 w 94678"/>
                  <a:gd name="connsiteY6" fmla="*/ 3144 h 123063"/>
                  <a:gd name="connsiteX7" fmla="*/ 10573 w 94678"/>
                  <a:gd name="connsiteY7" fmla="*/ 3144 h 123063"/>
                  <a:gd name="connsiteX8" fmla="*/ 12001 w 94678"/>
                  <a:gd name="connsiteY8" fmla="*/ 24956 h 123063"/>
                  <a:gd name="connsiteX9" fmla="*/ 52483 w 94678"/>
                  <a:gd name="connsiteY9" fmla="*/ 1 h 123063"/>
                  <a:gd name="connsiteX10" fmla="*/ 94679 w 94678"/>
                  <a:gd name="connsiteY10" fmla="*/ 43911 h 123063"/>
                  <a:gd name="connsiteX11" fmla="*/ 94679 w 94678"/>
                  <a:gd name="connsiteY11" fmla="*/ 123064 h 123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678" h="123063">
                    <a:moveTo>
                      <a:pt x="82677" y="122968"/>
                    </a:moveTo>
                    <a:lnTo>
                      <a:pt x="82677" y="44578"/>
                    </a:lnTo>
                    <a:cubicBezTo>
                      <a:pt x="82677" y="23718"/>
                      <a:pt x="73152" y="11716"/>
                      <a:pt x="51721" y="11716"/>
                    </a:cubicBezTo>
                    <a:cubicBezTo>
                      <a:pt x="22193" y="11716"/>
                      <a:pt x="11906" y="37148"/>
                      <a:pt x="11906" y="62961"/>
                    </a:cubicBezTo>
                    <a:lnTo>
                      <a:pt x="11906" y="122968"/>
                    </a:lnTo>
                    <a:lnTo>
                      <a:pt x="0" y="122968"/>
                    </a:lnTo>
                    <a:lnTo>
                      <a:pt x="0" y="3144"/>
                    </a:lnTo>
                    <a:lnTo>
                      <a:pt x="10573" y="3144"/>
                    </a:lnTo>
                    <a:lnTo>
                      <a:pt x="12001" y="24956"/>
                    </a:lnTo>
                    <a:cubicBezTo>
                      <a:pt x="19631" y="9598"/>
                      <a:pt x="35338" y="-82"/>
                      <a:pt x="52483" y="1"/>
                    </a:cubicBezTo>
                    <a:cubicBezTo>
                      <a:pt x="80105" y="1"/>
                      <a:pt x="94679" y="17050"/>
                      <a:pt x="94679" y="43911"/>
                    </a:cubicBezTo>
                    <a:lnTo>
                      <a:pt x="94679" y="1230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8CAA883E-D229-4867-8771-21DF55DA8705}"/>
                  </a:ext>
                </a:extLst>
              </p:cNvPr>
              <p:cNvSpPr/>
              <p:nvPr/>
            </p:nvSpPr>
            <p:spPr>
              <a:xfrm>
                <a:off x="9905277" y="4848598"/>
                <a:ext cx="16763" cy="169640"/>
              </a:xfrm>
              <a:custGeom>
                <a:avLst/>
                <a:gdLst>
                  <a:gd name="connsiteX0" fmla="*/ 2191 w 16763"/>
                  <a:gd name="connsiteY0" fmla="*/ 49816 h 169640"/>
                  <a:gd name="connsiteX1" fmla="*/ 14859 w 16763"/>
                  <a:gd name="connsiteY1" fmla="*/ 49816 h 169640"/>
                  <a:gd name="connsiteX2" fmla="*/ 14859 w 16763"/>
                  <a:gd name="connsiteY2" fmla="*/ 169640 h 169640"/>
                  <a:gd name="connsiteX3" fmla="*/ 2191 w 16763"/>
                  <a:gd name="connsiteY3" fmla="*/ 169640 h 169640"/>
                  <a:gd name="connsiteX4" fmla="*/ 0 w 16763"/>
                  <a:gd name="connsiteY4" fmla="*/ 0 h 169640"/>
                  <a:gd name="connsiteX5" fmla="*/ 16764 w 16763"/>
                  <a:gd name="connsiteY5" fmla="*/ 0 h 169640"/>
                  <a:gd name="connsiteX6" fmla="*/ 16764 w 16763"/>
                  <a:gd name="connsiteY6" fmla="*/ 16764 h 169640"/>
                  <a:gd name="connsiteX7" fmla="*/ 0 w 16763"/>
                  <a:gd name="connsiteY7" fmla="*/ 16764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63" h="169640">
                    <a:moveTo>
                      <a:pt x="2191" y="49816"/>
                    </a:moveTo>
                    <a:lnTo>
                      <a:pt x="14859" y="49816"/>
                    </a:lnTo>
                    <a:lnTo>
                      <a:pt x="14859" y="169640"/>
                    </a:lnTo>
                    <a:lnTo>
                      <a:pt x="2191" y="169640"/>
                    </a:lnTo>
                    <a:close/>
                    <a:moveTo>
                      <a:pt x="0" y="0"/>
                    </a:moveTo>
                    <a:lnTo>
                      <a:pt x="16764" y="0"/>
                    </a:lnTo>
                    <a:lnTo>
                      <a:pt x="16764" y="16764"/>
                    </a:lnTo>
                    <a:lnTo>
                      <a:pt x="0" y="167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8CD4D0D-29D3-424D-B3B1-E233B0B2BD99}"/>
                  </a:ext>
                </a:extLst>
              </p:cNvPr>
              <p:cNvSpPr/>
              <p:nvPr/>
            </p:nvSpPr>
            <p:spPr>
              <a:xfrm>
                <a:off x="9957760" y="4895294"/>
                <a:ext cx="96496" cy="126173"/>
              </a:xfrm>
              <a:custGeom>
                <a:avLst/>
                <a:gdLst>
                  <a:gd name="connsiteX0" fmla="*/ 88297 w 96496"/>
                  <a:gd name="connsiteY0" fmla="*/ 111704 h 126173"/>
                  <a:gd name="connsiteX1" fmla="*/ 49435 w 96496"/>
                  <a:gd name="connsiteY1" fmla="*/ 126087 h 126173"/>
                  <a:gd name="connsiteX2" fmla="*/ 10096 w 96496"/>
                  <a:gd name="connsiteY2" fmla="*/ 110752 h 126173"/>
                  <a:gd name="connsiteX3" fmla="*/ 0 w 96496"/>
                  <a:gd name="connsiteY3" fmla="*/ 86653 h 126173"/>
                  <a:gd name="connsiteX4" fmla="*/ 12192 w 96496"/>
                  <a:gd name="connsiteY4" fmla="*/ 86653 h 126173"/>
                  <a:gd name="connsiteX5" fmla="*/ 21050 w 96496"/>
                  <a:gd name="connsiteY5" fmla="*/ 105132 h 126173"/>
                  <a:gd name="connsiteX6" fmla="*/ 77629 w 96496"/>
                  <a:gd name="connsiteY6" fmla="*/ 105894 h 126173"/>
                  <a:gd name="connsiteX7" fmla="*/ 84106 w 96496"/>
                  <a:gd name="connsiteY7" fmla="*/ 90559 h 126173"/>
                  <a:gd name="connsiteX8" fmla="*/ 62008 w 96496"/>
                  <a:gd name="connsiteY8" fmla="*/ 68746 h 126173"/>
                  <a:gd name="connsiteX9" fmla="*/ 38767 w 96496"/>
                  <a:gd name="connsiteY9" fmla="*/ 65603 h 126173"/>
                  <a:gd name="connsiteX10" fmla="*/ 11716 w 96496"/>
                  <a:gd name="connsiteY10" fmla="*/ 53602 h 126173"/>
                  <a:gd name="connsiteX11" fmla="*/ 4953 w 96496"/>
                  <a:gd name="connsiteY11" fmla="*/ 34552 h 126173"/>
                  <a:gd name="connsiteX12" fmla="*/ 15240 w 96496"/>
                  <a:gd name="connsiteY12" fmla="*/ 11311 h 126173"/>
                  <a:gd name="connsiteX13" fmla="*/ 48101 w 96496"/>
                  <a:gd name="connsiteY13" fmla="*/ 71 h 126173"/>
                  <a:gd name="connsiteX14" fmla="*/ 84296 w 96496"/>
                  <a:gd name="connsiteY14" fmla="*/ 14168 h 126173"/>
                  <a:gd name="connsiteX15" fmla="*/ 93821 w 96496"/>
                  <a:gd name="connsiteY15" fmla="*/ 36266 h 126173"/>
                  <a:gd name="connsiteX16" fmla="*/ 81820 w 96496"/>
                  <a:gd name="connsiteY16" fmla="*/ 36266 h 126173"/>
                  <a:gd name="connsiteX17" fmla="*/ 75819 w 96496"/>
                  <a:gd name="connsiteY17" fmla="*/ 21883 h 126173"/>
                  <a:gd name="connsiteX18" fmla="*/ 48482 w 96496"/>
                  <a:gd name="connsiteY18" fmla="*/ 11311 h 126173"/>
                  <a:gd name="connsiteX19" fmla="*/ 26860 w 96496"/>
                  <a:gd name="connsiteY19" fmla="*/ 16835 h 126173"/>
                  <a:gd name="connsiteX20" fmla="*/ 17335 w 96496"/>
                  <a:gd name="connsiteY20" fmla="*/ 33409 h 126173"/>
                  <a:gd name="connsiteX21" fmla="*/ 40576 w 96496"/>
                  <a:gd name="connsiteY21" fmla="*/ 53602 h 126173"/>
                  <a:gd name="connsiteX22" fmla="*/ 63341 w 96496"/>
                  <a:gd name="connsiteY22" fmla="*/ 56745 h 126173"/>
                  <a:gd name="connsiteX23" fmla="*/ 96488 w 96496"/>
                  <a:gd name="connsiteY23" fmla="*/ 89797 h 126173"/>
                  <a:gd name="connsiteX24" fmla="*/ 88297 w 96496"/>
                  <a:gd name="connsiteY24" fmla="*/ 111895 h 12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6496" h="126173">
                    <a:moveTo>
                      <a:pt x="88297" y="111704"/>
                    </a:moveTo>
                    <a:cubicBezTo>
                      <a:pt x="77914" y="121705"/>
                      <a:pt x="63827" y="126918"/>
                      <a:pt x="49435" y="126087"/>
                    </a:cubicBezTo>
                    <a:cubicBezTo>
                      <a:pt x="34719" y="126929"/>
                      <a:pt x="20364" y="121332"/>
                      <a:pt x="10096" y="110752"/>
                    </a:cubicBezTo>
                    <a:cubicBezTo>
                      <a:pt x="3829" y="104272"/>
                      <a:pt x="219" y="95669"/>
                      <a:pt x="0" y="86653"/>
                    </a:cubicBezTo>
                    <a:lnTo>
                      <a:pt x="12192" y="86653"/>
                    </a:lnTo>
                    <a:cubicBezTo>
                      <a:pt x="12868" y="93666"/>
                      <a:pt x="16012" y="100212"/>
                      <a:pt x="21050" y="105132"/>
                    </a:cubicBezTo>
                    <a:cubicBezTo>
                      <a:pt x="37700" y="117776"/>
                      <a:pt x="60646" y="118085"/>
                      <a:pt x="77629" y="105894"/>
                    </a:cubicBezTo>
                    <a:cubicBezTo>
                      <a:pt x="82029" y="102046"/>
                      <a:pt x="84411" y="96393"/>
                      <a:pt x="84106" y="90559"/>
                    </a:cubicBezTo>
                    <a:cubicBezTo>
                      <a:pt x="83753" y="78551"/>
                      <a:pt x="74019" y="68944"/>
                      <a:pt x="62008" y="68746"/>
                    </a:cubicBezTo>
                    <a:lnTo>
                      <a:pt x="38767" y="65603"/>
                    </a:lnTo>
                    <a:cubicBezTo>
                      <a:pt x="28594" y="64999"/>
                      <a:pt x="18993" y="60737"/>
                      <a:pt x="11716" y="53602"/>
                    </a:cubicBezTo>
                    <a:cubicBezTo>
                      <a:pt x="7220" y="48288"/>
                      <a:pt x="4810" y="41513"/>
                      <a:pt x="4953" y="34552"/>
                    </a:cubicBezTo>
                    <a:cubicBezTo>
                      <a:pt x="4896" y="25690"/>
                      <a:pt x="8639" y="17227"/>
                      <a:pt x="15240" y="11311"/>
                    </a:cubicBezTo>
                    <a:cubicBezTo>
                      <a:pt x="24384" y="3561"/>
                      <a:pt x="36119" y="-453"/>
                      <a:pt x="48101" y="71"/>
                    </a:cubicBezTo>
                    <a:cubicBezTo>
                      <a:pt x="61636" y="-674"/>
                      <a:pt x="74828" y="4465"/>
                      <a:pt x="84296" y="14168"/>
                    </a:cubicBezTo>
                    <a:cubicBezTo>
                      <a:pt x="89859" y="20257"/>
                      <a:pt x="93212" y="28040"/>
                      <a:pt x="93821" y="36266"/>
                    </a:cubicBezTo>
                    <a:lnTo>
                      <a:pt x="81820" y="36266"/>
                    </a:lnTo>
                    <a:cubicBezTo>
                      <a:pt x="81191" y="31008"/>
                      <a:pt x="79115" y="26029"/>
                      <a:pt x="75819" y="21883"/>
                    </a:cubicBezTo>
                    <a:cubicBezTo>
                      <a:pt x="68713" y="14502"/>
                      <a:pt x="58703" y="10633"/>
                      <a:pt x="48482" y="11311"/>
                    </a:cubicBezTo>
                    <a:cubicBezTo>
                      <a:pt x="40872" y="10782"/>
                      <a:pt x="33290" y="12719"/>
                      <a:pt x="26860" y="16835"/>
                    </a:cubicBezTo>
                    <a:cubicBezTo>
                      <a:pt x="21136" y="20436"/>
                      <a:pt x="17564" y="26646"/>
                      <a:pt x="17335" y="33409"/>
                    </a:cubicBezTo>
                    <a:cubicBezTo>
                      <a:pt x="17335" y="43505"/>
                      <a:pt x="22384" y="51125"/>
                      <a:pt x="40576" y="53602"/>
                    </a:cubicBezTo>
                    <a:lnTo>
                      <a:pt x="63341" y="56745"/>
                    </a:lnTo>
                    <a:cubicBezTo>
                      <a:pt x="85916" y="59793"/>
                      <a:pt x="96488" y="75223"/>
                      <a:pt x="96488" y="89797"/>
                    </a:cubicBezTo>
                    <a:cubicBezTo>
                      <a:pt x="96669" y="97937"/>
                      <a:pt x="93736" y="105839"/>
                      <a:pt x="88297" y="111895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AE03D8F2-FC6E-4FAD-835E-6D531221CA79}"/>
                  </a:ext>
                </a:extLst>
              </p:cNvPr>
              <p:cNvSpPr/>
              <p:nvPr/>
            </p:nvSpPr>
            <p:spPr>
              <a:xfrm>
                <a:off x="10080615" y="4895328"/>
                <a:ext cx="98982" cy="126345"/>
              </a:xfrm>
              <a:custGeom>
                <a:avLst/>
                <a:gdLst>
                  <a:gd name="connsiteX0" fmla="*/ 52500 w 98982"/>
                  <a:gd name="connsiteY0" fmla="*/ 126053 h 126345"/>
                  <a:gd name="connsiteX1" fmla="*/ 17258 w 98982"/>
                  <a:gd name="connsiteY1" fmla="*/ 111861 h 126345"/>
                  <a:gd name="connsiteX2" fmla="*/ 208 w 98982"/>
                  <a:gd name="connsiteY2" fmla="*/ 62997 h 126345"/>
                  <a:gd name="connsiteX3" fmla="*/ 16972 w 98982"/>
                  <a:gd name="connsiteY3" fmla="*/ 14134 h 126345"/>
                  <a:gd name="connsiteX4" fmla="*/ 52215 w 98982"/>
                  <a:gd name="connsiteY4" fmla="*/ 37 h 126345"/>
                  <a:gd name="connsiteX5" fmla="*/ 98506 w 98982"/>
                  <a:gd name="connsiteY5" fmla="*/ 40614 h 126345"/>
                  <a:gd name="connsiteX6" fmla="*/ 85933 w 98982"/>
                  <a:gd name="connsiteY6" fmla="*/ 40614 h 126345"/>
                  <a:gd name="connsiteX7" fmla="*/ 52119 w 98982"/>
                  <a:gd name="connsiteY7" fmla="*/ 12039 h 126345"/>
                  <a:gd name="connsiteX8" fmla="*/ 25449 w 98982"/>
                  <a:gd name="connsiteY8" fmla="*/ 22326 h 126345"/>
                  <a:gd name="connsiteX9" fmla="*/ 12305 w 98982"/>
                  <a:gd name="connsiteY9" fmla="*/ 63283 h 126345"/>
                  <a:gd name="connsiteX10" fmla="*/ 25449 w 98982"/>
                  <a:gd name="connsiteY10" fmla="*/ 104526 h 126345"/>
                  <a:gd name="connsiteX11" fmla="*/ 52119 w 98982"/>
                  <a:gd name="connsiteY11" fmla="*/ 114623 h 126345"/>
                  <a:gd name="connsiteX12" fmla="*/ 86219 w 98982"/>
                  <a:gd name="connsiteY12" fmla="*/ 85381 h 126345"/>
                  <a:gd name="connsiteX13" fmla="*/ 98982 w 98982"/>
                  <a:gd name="connsiteY13" fmla="*/ 85381 h 126345"/>
                  <a:gd name="connsiteX14" fmla="*/ 52215 w 98982"/>
                  <a:gd name="connsiteY14" fmla="*/ 126339 h 126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8982" h="126345">
                    <a:moveTo>
                      <a:pt x="52500" y="126053"/>
                    </a:moveTo>
                    <a:cubicBezTo>
                      <a:pt x="39318" y="126280"/>
                      <a:pt x="26602" y="121161"/>
                      <a:pt x="17258" y="111861"/>
                    </a:cubicBezTo>
                    <a:cubicBezTo>
                      <a:pt x="5009" y="98662"/>
                      <a:pt x="-1173" y="80950"/>
                      <a:pt x="208" y="62997"/>
                    </a:cubicBezTo>
                    <a:cubicBezTo>
                      <a:pt x="-1230" y="45088"/>
                      <a:pt x="4837" y="27386"/>
                      <a:pt x="16972" y="14134"/>
                    </a:cubicBezTo>
                    <a:cubicBezTo>
                      <a:pt x="26345" y="4878"/>
                      <a:pt x="39051" y="-205"/>
                      <a:pt x="52215" y="37"/>
                    </a:cubicBezTo>
                    <a:cubicBezTo>
                      <a:pt x="75989" y="-924"/>
                      <a:pt x="96344" y="16918"/>
                      <a:pt x="98506" y="40614"/>
                    </a:cubicBezTo>
                    <a:lnTo>
                      <a:pt x="85933" y="40614"/>
                    </a:lnTo>
                    <a:cubicBezTo>
                      <a:pt x="83609" y="23854"/>
                      <a:pt x="69036" y="11538"/>
                      <a:pt x="52119" y="12039"/>
                    </a:cubicBezTo>
                    <a:cubicBezTo>
                      <a:pt x="42185" y="11582"/>
                      <a:pt x="32507" y="15313"/>
                      <a:pt x="25449" y="22326"/>
                    </a:cubicBezTo>
                    <a:cubicBezTo>
                      <a:pt x="15743" y="33657"/>
                      <a:pt x="11009" y="48419"/>
                      <a:pt x="12305" y="63283"/>
                    </a:cubicBezTo>
                    <a:cubicBezTo>
                      <a:pt x="11000" y="78234"/>
                      <a:pt x="15734" y="93085"/>
                      <a:pt x="25449" y="104526"/>
                    </a:cubicBezTo>
                    <a:cubicBezTo>
                      <a:pt x="32536" y="111468"/>
                      <a:pt x="42213" y="115130"/>
                      <a:pt x="52119" y="114623"/>
                    </a:cubicBezTo>
                    <a:cubicBezTo>
                      <a:pt x="69226" y="114839"/>
                      <a:pt x="83828" y="102317"/>
                      <a:pt x="86219" y="85381"/>
                    </a:cubicBezTo>
                    <a:lnTo>
                      <a:pt x="98982" y="85381"/>
                    </a:lnTo>
                    <a:cubicBezTo>
                      <a:pt x="96239" y="109028"/>
                      <a:pt x="76017" y="126741"/>
                      <a:pt x="52215" y="12633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46532B15-0ACF-42F1-A2D3-5E6D25702C85}"/>
                  </a:ext>
                </a:extLst>
              </p:cNvPr>
              <p:cNvSpPr/>
              <p:nvPr/>
            </p:nvSpPr>
            <p:spPr>
              <a:xfrm>
                <a:off x="10212458" y="4845169"/>
                <a:ext cx="94678" cy="173259"/>
              </a:xfrm>
              <a:custGeom>
                <a:avLst/>
                <a:gdLst>
                  <a:gd name="connsiteX0" fmla="*/ 82772 w 94678"/>
                  <a:gd name="connsiteY0" fmla="*/ 173069 h 173259"/>
                  <a:gd name="connsiteX1" fmla="*/ 82772 w 94678"/>
                  <a:gd name="connsiteY1" fmla="*/ 94678 h 173259"/>
                  <a:gd name="connsiteX2" fmla="*/ 51816 w 94678"/>
                  <a:gd name="connsiteY2" fmla="*/ 61341 h 173259"/>
                  <a:gd name="connsiteX3" fmla="*/ 12001 w 94678"/>
                  <a:gd name="connsiteY3" fmla="*/ 113062 h 173259"/>
                  <a:gd name="connsiteX4" fmla="*/ 12001 w 94678"/>
                  <a:gd name="connsiteY4" fmla="*/ 173069 h 173259"/>
                  <a:gd name="connsiteX5" fmla="*/ 0 w 94678"/>
                  <a:gd name="connsiteY5" fmla="*/ 173069 h 173259"/>
                  <a:gd name="connsiteX6" fmla="*/ 0 w 94678"/>
                  <a:gd name="connsiteY6" fmla="*/ 0 h 173259"/>
                  <a:gd name="connsiteX7" fmla="*/ 12001 w 94678"/>
                  <a:gd name="connsiteY7" fmla="*/ 0 h 173259"/>
                  <a:gd name="connsiteX8" fmla="*/ 12001 w 94678"/>
                  <a:gd name="connsiteY8" fmla="*/ 75343 h 173259"/>
                  <a:gd name="connsiteX9" fmla="*/ 52483 w 94678"/>
                  <a:gd name="connsiteY9" fmla="*/ 50197 h 173259"/>
                  <a:gd name="connsiteX10" fmla="*/ 94678 w 94678"/>
                  <a:gd name="connsiteY10" fmla="*/ 94107 h 173259"/>
                  <a:gd name="connsiteX11" fmla="*/ 94678 w 94678"/>
                  <a:gd name="connsiteY11" fmla="*/ 17326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678" h="173259">
                    <a:moveTo>
                      <a:pt x="82772" y="173069"/>
                    </a:moveTo>
                    <a:lnTo>
                      <a:pt x="82772" y="94678"/>
                    </a:lnTo>
                    <a:cubicBezTo>
                      <a:pt x="82772" y="73819"/>
                      <a:pt x="73247" y="61341"/>
                      <a:pt x="51816" y="61341"/>
                    </a:cubicBezTo>
                    <a:cubicBezTo>
                      <a:pt x="22288" y="61341"/>
                      <a:pt x="12001" y="87249"/>
                      <a:pt x="12001" y="113062"/>
                    </a:cubicBezTo>
                    <a:lnTo>
                      <a:pt x="12001" y="173069"/>
                    </a:lnTo>
                    <a:lnTo>
                      <a:pt x="0" y="173069"/>
                    </a:lnTo>
                    <a:lnTo>
                      <a:pt x="0" y="0"/>
                    </a:lnTo>
                    <a:lnTo>
                      <a:pt x="12001" y="0"/>
                    </a:lnTo>
                    <a:lnTo>
                      <a:pt x="12001" y="75343"/>
                    </a:lnTo>
                    <a:cubicBezTo>
                      <a:pt x="19526" y="59862"/>
                      <a:pt x="35271" y="50081"/>
                      <a:pt x="52483" y="50197"/>
                    </a:cubicBezTo>
                    <a:cubicBezTo>
                      <a:pt x="80105" y="50197"/>
                      <a:pt x="94678" y="67247"/>
                      <a:pt x="94678" y="94107"/>
                    </a:cubicBezTo>
                    <a:lnTo>
                      <a:pt x="94678" y="17326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527EFBD-E11B-401E-A578-8ACEA18AE3FA}"/>
                  </a:ext>
                </a:extLst>
              </p:cNvPr>
              <p:cNvSpPr/>
              <p:nvPr/>
            </p:nvSpPr>
            <p:spPr>
              <a:xfrm>
                <a:off x="10341506" y="4895169"/>
                <a:ext cx="103933" cy="126131"/>
              </a:xfrm>
              <a:custGeom>
                <a:avLst/>
                <a:gdLst>
                  <a:gd name="connsiteX0" fmla="*/ 52975 w 103933"/>
                  <a:gd name="connsiteY0" fmla="*/ 11341 h 126131"/>
                  <a:gd name="connsiteX1" fmla="*/ 12589 w 103933"/>
                  <a:gd name="connsiteY1" fmla="*/ 52482 h 126131"/>
                  <a:gd name="connsiteX2" fmla="*/ 12684 w 103933"/>
                  <a:gd name="connsiteY2" fmla="*/ 54965 h 126131"/>
                  <a:gd name="connsiteX3" fmla="*/ 91742 w 103933"/>
                  <a:gd name="connsiteY3" fmla="*/ 54965 h 126131"/>
                  <a:gd name="connsiteX4" fmla="*/ 52689 w 103933"/>
                  <a:gd name="connsiteY4" fmla="*/ 11341 h 126131"/>
                  <a:gd name="connsiteX5" fmla="*/ 103743 w 103933"/>
                  <a:gd name="connsiteY5" fmla="*/ 66014 h 126131"/>
                  <a:gd name="connsiteX6" fmla="*/ 12113 w 103933"/>
                  <a:gd name="connsiteY6" fmla="*/ 66014 h 126131"/>
                  <a:gd name="connsiteX7" fmla="*/ 25067 w 103933"/>
                  <a:gd name="connsiteY7" fmla="*/ 102019 h 126131"/>
                  <a:gd name="connsiteX8" fmla="*/ 53642 w 103933"/>
                  <a:gd name="connsiteY8" fmla="*/ 114687 h 126131"/>
                  <a:gd name="connsiteX9" fmla="*/ 79740 w 103933"/>
                  <a:gd name="connsiteY9" fmla="*/ 104114 h 126131"/>
                  <a:gd name="connsiteX10" fmla="*/ 89265 w 103933"/>
                  <a:gd name="connsiteY10" fmla="*/ 87065 h 126131"/>
                  <a:gd name="connsiteX11" fmla="*/ 101267 w 103933"/>
                  <a:gd name="connsiteY11" fmla="*/ 87065 h 126131"/>
                  <a:gd name="connsiteX12" fmla="*/ 87836 w 103933"/>
                  <a:gd name="connsiteY12" fmla="*/ 112211 h 126131"/>
                  <a:gd name="connsiteX13" fmla="*/ 53547 w 103933"/>
                  <a:gd name="connsiteY13" fmla="*/ 126117 h 126131"/>
                  <a:gd name="connsiteX14" fmla="*/ 15447 w 103933"/>
                  <a:gd name="connsiteY14" fmla="*/ 109163 h 126131"/>
                  <a:gd name="connsiteX15" fmla="*/ 111 w 103933"/>
                  <a:gd name="connsiteY15" fmla="*/ 63538 h 126131"/>
                  <a:gd name="connsiteX16" fmla="*/ 11827 w 103933"/>
                  <a:gd name="connsiteY16" fmla="*/ 20866 h 126131"/>
                  <a:gd name="connsiteX17" fmla="*/ 52594 w 103933"/>
                  <a:gd name="connsiteY17" fmla="*/ 6 h 126131"/>
                  <a:gd name="connsiteX18" fmla="*/ 103934 w 103933"/>
                  <a:gd name="connsiteY18" fmla="*/ 58013 h 126131"/>
                  <a:gd name="connsiteX19" fmla="*/ 103934 w 103933"/>
                  <a:gd name="connsiteY19" fmla="*/ 65919 h 126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933" h="126131">
                    <a:moveTo>
                      <a:pt x="52975" y="11341"/>
                    </a:moveTo>
                    <a:cubicBezTo>
                      <a:pt x="30458" y="11549"/>
                      <a:pt x="12379" y="29968"/>
                      <a:pt x="12589" y="52482"/>
                    </a:cubicBezTo>
                    <a:cubicBezTo>
                      <a:pt x="12589" y="53311"/>
                      <a:pt x="12627" y="54139"/>
                      <a:pt x="12684" y="54965"/>
                    </a:cubicBezTo>
                    <a:lnTo>
                      <a:pt x="91742" y="54965"/>
                    </a:lnTo>
                    <a:cubicBezTo>
                      <a:pt x="91265" y="32201"/>
                      <a:pt x="77073" y="11341"/>
                      <a:pt x="52689" y="11341"/>
                    </a:cubicBezTo>
                    <a:moveTo>
                      <a:pt x="103743" y="66014"/>
                    </a:moveTo>
                    <a:lnTo>
                      <a:pt x="12113" y="66014"/>
                    </a:lnTo>
                    <a:cubicBezTo>
                      <a:pt x="12208" y="79140"/>
                      <a:pt x="16780" y="91839"/>
                      <a:pt x="25067" y="102019"/>
                    </a:cubicBezTo>
                    <a:cubicBezTo>
                      <a:pt x="32163" y="110371"/>
                      <a:pt x="42688" y="115035"/>
                      <a:pt x="53642" y="114687"/>
                    </a:cubicBezTo>
                    <a:cubicBezTo>
                      <a:pt x="63424" y="114897"/>
                      <a:pt x="72863" y="111073"/>
                      <a:pt x="79740" y="104114"/>
                    </a:cubicBezTo>
                    <a:cubicBezTo>
                      <a:pt x="84531" y="99499"/>
                      <a:pt x="87846" y="93565"/>
                      <a:pt x="89265" y="87065"/>
                    </a:cubicBezTo>
                    <a:lnTo>
                      <a:pt x="101267" y="87065"/>
                    </a:lnTo>
                    <a:cubicBezTo>
                      <a:pt x="99667" y="96691"/>
                      <a:pt x="94942" y="105525"/>
                      <a:pt x="87836" y="112211"/>
                    </a:cubicBezTo>
                    <a:cubicBezTo>
                      <a:pt x="78750" y="121278"/>
                      <a:pt x="66386" y="126293"/>
                      <a:pt x="53547" y="126117"/>
                    </a:cubicBezTo>
                    <a:cubicBezTo>
                      <a:pt x="38945" y="126468"/>
                      <a:pt x="24962" y="120244"/>
                      <a:pt x="15447" y="109163"/>
                    </a:cubicBezTo>
                    <a:cubicBezTo>
                      <a:pt x="5045" y="96277"/>
                      <a:pt x="-394" y="80090"/>
                      <a:pt x="111" y="63538"/>
                    </a:cubicBezTo>
                    <a:cubicBezTo>
                      <a:pt x="-746" y="48417"/>
                      <a:pt x="3369" y="33431"/>
                      <a:pt x="11827" y="20866"/>
                    </a:cubicBezTo>
                    <a:cubicBezTo>
                      <a:pt x="21104" y="7568"/>
                      <a:pt x="36382" y="-250"/>
                      <a:pt x="52594" y="6"/>
                    </a:cubicBezTo>
                    <a:cubicBezTo>
                      <a:pt x="84979" y="6"/>
                      <a:pt x="103934" y="27819"/>
                      <a:pt x="103934" y="58013"/>
                    </a:cubicBezTo>
                    <a:cubicBezTo>
                      <a:pt x="103934" y="60871"/>
                      <a:pt x="103934" y="63062"/>
                      <a:pt x="103934" y="6591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9862BC51-D1CC-4F84-87C1-0627E5FC8C2E}"/>
                  </a:ext>
                </a:extLst>
              </p:cNvPr>
              <p:cNvSpPr/>
              <p:nvPr/>
            </p:nvSpPr>
            <p:spPr>
              <a:xfrm>
                <a:off x="10530784" y="4898127"/>
                <a:ext cx="94773" cy="123065"/>
              </a:xfrm>
              <a:custGeom>
                <a:avLst/>
                <a:gdLst>
                  <a:gd name="connsiteX0" fmla="*/ 84106 w 94773"/>
                  <a:gd name="connsiteY0" fmla="*/ 119920 h 123065"/>
                  <a:gd name="connsiteX1" fmla="*/ 82677 w 94773"/>
                  <a:gd name="connsiteY1" fmla="*/ 98108 h 123065"/>
                  <a:gd name="connsiteX2" fmla="*/ 42196 w 94773"/>
                  <a:gd name="connsiteY2" fmla="*/ 123063 h 123065"/>
                  <a:gd name="connsiteX3" fmla="*/ 0 w 94773"/>
                  <a:gd name="connsiteY3" fmla="*/ 79153 h 123065"/>
                  <a:gd name="connsiteX4" fmla="*/ 0 w 94773"/>
                  <a:gd name="connsiteY4" fmla="*/ 0 h 123065"/>
                  <a:gd name="connsiteX5" fmla="*/ 12001 w 94773"/>
                  <a:gd name="connsiteY5" fmla="*/ 0 h 123065"/>
                  <a:gd name="connsiteX6" fmla="*/ 12001 w 94773"/>
                  <a:gd name="connsiteY6" fmla="*/ 78391 h 123065"/>
                  <a:gd name="connsiteX7" fmla="*/ 42958 w 94773"/>
                  <a:gd name="connsiteY7" fmla="*/ 111252 h 123065"/>
                  <a:gd name="connsiteX8" fmla="*/ 82772 w 94773"/>
                  <a:gd name="connsiteY8" fmla="*/ 59912 h 123065"/>
                  <a:gd name="connsiteX9" fmla="*/ 82772 w 94773"/>
                  <a:gd name="connsiteY9" fmla="*/ 0 h 123065"/>
                  <a:gd name="connsiteX10" fmla="*/ 94774 w 94773"/>
                  <a:gd name="connsiteY10" fmla="*/ 0 h 123065"/>
                  <a:gd name="connsiteX11" fmla="*/ 94774 w 94773"/>
                  <a:gd name="connsiteY11" fmla="*/ 119920 h 123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5">
                    <a:moveTo>
                      <a:pt x="84106" y="119920"/>
                    </a:moveTo>
                    <a:lnTo>
                      <a:pt x="82677" y="98108"/>
                    </a:lnTo>
                    <a:cubicBezTo>
                      <a:pt x="75114" y="113530"/>
                      <a:pt x="59369" y="123238"/>
                      <a:pt x="42196" y="123063"/>
                    </a:cubicBezTo>
                    <a:cubicBezTo>
                      <a:pt x="14573" y="123063"/>
                      <a:pt x="0" y="106013"/>
                      <a:pt x="0" y="79153"/>
                    </a:cubicBezTo>
                    <a:lnTo>
                      <a:pt x="0" y="0"/>
                    </a:lnTo>
                    <a:lnTo>
                      <a:pt x="12001" y="0"/>
                    </a:lnTo>
                    <a:lnTo>
                      <a:pt x="12001" y="78391"/>
                    </a:lnTo>
                    <a:cubicBezTo>
                      <a:pt x="12001" y="99251"/>
                      <a:pt x="21526" y="111252"/>
                      <a:pt x="42958" y="111252"/>
                    </a:cubicBezTo>
                    <a:cubicBezTo>
                      <a:pt x="72390" y="111252"/>
                      <a:pt x="82772" y="85820"/>
                      <a:pt x="82772" y="59912"/>
                    </a:cubicBezTo>
                    <a:lnTo>
                      <a:pt x="82772" y="0"/>
                    </a:lnTo>
                    <a:lnTo>
                      <a:pt x="94774" y="0"/>
                    </a:lnTo>
                    <a:lnTo>
                      <a:pt x="94774" y="11992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D07DD3E-F8E9-4133-9E5F-FB5D07AAB577}"/>
                  </a:ext>
                </a:extLst>
              </p:cNvPr>
              <p:cNvSpPr/>
              <p:nvPr/>
            </p:nvSpPr>
            <p:spPr>
              <a:xfrm>
                <a:off x="10672897" y="4895269"/>
                <a:ext cx="94773" cy="123064"/>
              </a:xfrm>
              <a:custGeom>
                <a:avLst/>
                <a:gdLst>
                  <a:gd name="connsiteX0" fmla="*/ 82772 w 94773"/>
                  <a:gd name="connsiteY0" fmla="*/ 122969 h 123064"/>
                  <a:gd name="connsiteX1" fmla="*/ 82772 w 94773"/>
                  <a:gd name="connsiteY1" fmla="*/ 44578 h 123064"/>
                  <a:gd name="connsiteX2" fmla="*/ 51816 w 94773"/>
                  <a:gd name="connsiteY2" fmla="*/ 11717 h 123064"/>
                  <a:gd name="connsiteX3" fmla="*/ 12001 w 94773"/>
                  <a:gd name="connsiteY3" fmla="*/ 62961 h 123064"/>
                  <a:gd name="connsiteX4" fmla="*/ 12001 w 94773"/>
                  <a:gd name="connsiteY4" fmla="*/ 122969 h 123064"/>
                  <a:gd name="connsiteX5" fmla="*/ 0 w 94773"/>
                  <a:gd name="connsiteY5" fmla="*/ 122969 h 123064"/>
                  <a:gd name="connsiteX6" fmla="*/ 0 w 94773"/>
                  <a:gd name="connsiteY6" fmla="*/ 3144 h 123064"/>
                  <a:gd name="connsiteX7" fmla="*/ 10573 w 94773"/>
                  <a:gd name="connsiteY7" fmla="*/ 3144 h 123064"/>
                  <a:gd name="connsiteX8" fmla="*/ 12001 w 94773"/>
                  <a:gd name="connsiteY8" fmla="*/ 24957 h 123064"/>
                  <a:gd name="connsiteX9" fmla="*/ 52578 w 94773"/>
                  <a:gd name="connsiteY9" fmla="*/ 1 h 123064"/>
                  <a:gd name="connsiteX10" fmla="*/ 94774 w 94773"/>
                  <a:gd name="connsiteY10" fmla="*/ 43911 h 123064"/>
                  <a:gd name="connsiteX11" fmla="*/ 94774 w 94773"/>
                  <a:gd name="connsiteY11" fmla="*/ 123064 h 123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4">
                    <a:moveTo>
                      <a:pt x="82772" y="122969"/>
                    </a:moveTo>
                    <a:lnTo>
                      <a:pt x="82772" y="44578"/>
                    </a:lnTo>
                    <a:cubicBezTo>
                      <a:pt x="82772" y="23718"/>
                      <a:pt x="73247" y="11717"/>
                      <a:pt x="51816" y="11717"/>
                    </a:cubicBezTo>
                    <a:cubicBezTo>
                      <a:pt x="22288" y="11717"/>
                      <a:pt x="12001" y="37149"/>
                      <a:pt x="12001" y="62961"/>
                    </a:cubicBezTo>
                    <a:lnTo>
                      <a:pt x="12001" y="122969"/>
                    </a:lnTo>
                    <a:lnTo>
                      <a:pt x="0" y="122969"/>
                    </a:lnTo>
                    <a:lnTo>
                      <a:pt x="0" y="3144"/>
                    </a:lnTo>
                    <a:lnTo>
                      <a:pt x="10573" y="3144"/>
                    </a:lnTo>
                    <a:lnTo>
                      <a:pt x="12001" y="24957"/>
                    </a:lnTo>
                    <a:cubicBezTo>
                      <a:pt x="19650" y="9567"/>
                      <a:pt x="35395" y="-119"/>
                      <a:pt x="52578" y="1"/>
                    </a:cubicBezTo>
                    <a:cubicBezTo>
                      <a:pt x="80200" y="1"/>
                      <a:pt x="94774" y="17051"/>
                      <a:pt x="94774" y="43911"/>
                    </a:cubicBezTo>
                    <a:lnTo>
                      <a:pt x="94774" y="1230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B35E6A0-31D2-47E2-9038-1EC36A36653C}"/>
                  </a:ext>
                </a:extLst>
              </p:cNvPr>
              <p:cNvSpPr/>
              <p:nvPr/>
            </p:nvSpPr>
            <p:spPr>
              <a:xfrm>
                <a:off x="10811771" y="4848598"/>
                <a:ext cx="16763" cy="169640"/>
              </a:xfrm>
              <a:custGeom>
                <a:avLst/>
                <a:gdLst>
                  <a:gd name="connsiteX0" fmla="*/ 2476 w 16763"/>
                  <a:gd name="connsiteY0" fmla="*/ 49816 h 169640"/>
                  <a:gd name="connsiteX1" fmla="*/ 15145 w 16763"/>
                  <a:gd name="connsiteY1" fmla="*/ 49816 h 169640"/>
                  <a:gd name="connsiteX2" fmla="*/ 15145 w 16763"/>
                  <a:gd name="connsiteY2" fmla="*/ 169640 h 169640"/>
                  <a:gd name="connsiteX3" fmla="*/ 2476 w 16763"/>
                  <a:gd name="connsiteY3" fmla="*/ 169640 h 169640"/>
                  <a:gd name="connsiteX4" fmla="*/ 0 w 16763"/>
                  <a:gd name="connsiteY4" fmla="*/ 0 h 169640"/>
                  <a:gd name="connsiteX5" fmla="*/ 16764 w 16763"/>
                  <a:gd name="connsiteY5" fmla="*/ 0 h 169640"/>
                  <a:gd name="connsiteX6" fmla="*/ 16764 w 16763"/>
                  <a:gd name="connsiteY6" fmla="*/ 16764 h 169640"/>
                  <a:gd name="connsiteX7" fmla="*/ 0 w 16763"/>
                  <a:gd name="connsiteY7" fmla="*/ 16764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63" h="169640">
                    <a:moveTo>
                      <a:pt x="2476" y="49816"/>
                    </a:moveTo>
                    <a:lnTo>
                      <a:pt x="15145" y="49816"/>
                    </a:lnTo>
                    <a:lnTo>
                      <a:pt x="15145" y="169640"/>
                    </a:lnTo>
                    <a:lnTo>
                      <a:pt x="2476" y="169640"/>
                    </a:lnTo>
                    <a:close/>
                    <a:moveTo>
                      <a:pt x="0" y="0"/>
                    </a:moveTo>
                    <a:lnTo>
                      <a:pt x="16764" y="0"/>
                    </a:lnTo>
                    <a:lnTo>
                      <a:pt x="16764" y="16764"/>
                    </a:lnTo>
                    <a:lnTo>
                      <a:pt x="0" y="167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F3250251-9FCA-4AFD-B529-70B80BF36B02}"/>
                  </a:ext>
                </a:extLst>
              </p:cNvPr>
              <p:cNvSpPr/>
              <p:nvPr/>
            </p:nvSpPr>
            <p:spPr>
              <a:xfrm>
                <a:off x="10854729" y="4898413"/>
                <a:ext cx="105251" cy="119919"/>
              </a:xfrm>
              <a:custGeom>
                <a:avLst/>
                <a:gdLst>
                  <a:gd name="connsiteX0" fmla="*/ 59627 w 105251"/>
                  <a:gd name="connsiteY0" fmla="*/ 119920 h 119919"/>
                  <a:gd name="connsiteX1" fmla="*/ 47435 w 105251"/>
                  <a:gd name="connsiteY1" fmla="*/ 119920 h 119919"/>
                  <a:gd name="connsiteX2" fmla="*/ 0 w 105251"/>
                  <a:gd name="connsiteY2" fmla="*/ 0 h 119919"/>
                  <a:gd name="connsiteX3" fmla="*/ 13621 w 105251"/>
                  <a:gd name="connsiteY3" fmla="*/ 0 h 119919"/>
                  <a:gd name="connsiteX4" fmla="*/ 53912 w 105251"/>
                  <a:gd name="connsiteY4" fmla="*/ 102870 h 119919"/>
                  <a:gd name="connsiteX5" fmla="*/ 92488 w 105251"/>
                  <a:gd name="connsiteY5" fmla="*/ 0 h 119919"/>
                  <a:gd name="connsiteX6" fmla="*/ 105251 w 105251"/>
                  <a:gd name="connsiteY6" fmla="*/ 0 h 119919"/>
                  <a:gd name="connsiteX7" fmla="*/ 59627 w 105251"/>
                  <a:gd name="connsiteY7" fmla="*/ 119920 h 119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251" h="119919">
                    <a:moveTo>
                      <a:pt x="59627" y="119920"/>
                    </a:moveTo>
                    <a:lnTo>
                      <a:pt x="47435" y="119920"/>
                    </a:lnTo>
                    <a:lnTo>
                      <a:pt x="0" y="0"/>
                    </a:lnTo>
                    <a:lnTo>
                      <a:pt x="13621" y="0"/>
                    </a:lnTo>
                    <a:lnTo>
                      <a:pt x="53912" y="102870"/>
                    </a:lnTo>
                    <a:lnTo>
                      <a:pt x="92488" y="0"/>
                    </a:lnTo>
                    <a:lnTo>
                      <a:pt x="105251" y="0"/>
                    </a:lnTo>
                    <a:lnTo>
                      <a:pt x="59627" y="11992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AED0096C-853B-46B1-8BF7-94A8791B0A7C}"/>
                  </a:ext>
                </a:extLst>
              </p:cNvPr>
              <p:cNvSpPr/>
              <p:nvPr/>
            </p:nvSpPr>
            <p:spPr>
              <a:xfrm>
                <a:off x="10975299" y="4895073"/>
                <a:ext cx="103933" cy="126131"/>
              </a:xfrm>
              <a:custGeom>
                <a:avLst/>
                <a:gdLst>
                  <a:gd name="connsiteX0" fmla="*/ 52689 w 103933"/>
                  <a:gd name="connsiteY0" fmla="*/ 11436 h 126131"/>
                  <a:gd name="connsiteX1" fmla="*/ 12303 w 103933"/>
                  <a:gd name="connsiteY1" fmla="*/ 52577 h 126131"/>
                  <a:gd name="connsiteX2" fmla="*/ 12398 w 103933"/>
                  <a:gd name="connsiteY2" fmla="*/ 55061 h 126131"/>
                  <a:gd name="connsiteX3" fmla="*/ 91742 w 103933"/>
                  <a:gd name="connsiteY3" fmla="*/ 55061 h 126131"/>
                  <a:gd name="connsiteX4" fmla="*/ 52689 w 103933"/>
                  <a:gd name="connsiteY4" fmla="*/ 11436 h 126131"/>
                  <a:gd name="connsiteX5" fmla="*/ 103743 w 103933"/>
                  <a:gd name="connsiteY5" fmla="*/ 66110 h 126131"/>
                  <a:gd name="connsiteX6" fmla="*/ 12113 w 103933"/>
                  <a:gd name="connsiteY6" fmla="*/ 66110 h 126131"/>
                  <a:gd name="connsiteX7" fmla="*/ 24590 w 103933"/>
                  <a:gd name="connsiteY7" fmla="*/ 102019 h 126131"/>
                  <a:gd name="connsiteX8" fmla="*/ 53165 w 103933"/>
                  <a:gd name="connsiteY8" fmla="*/ 114687 h 126131"/>
                  <a:gd name="connsiteX9" fmla="*/ 79264 w 103933"/>
                  <a:gd name="connsiteY9" fmla="*/ 104114 h 126131"/>
                  <a:gd name="connsiteX10" fmla="*/ 88789 w 103933"/>
                  <a:gd name="connsiteY10" fmla="*/ 87065 h 126131"/>
                  <a:gd name="connsiteX11" fmla="*/ 101267 w 103933"/>
                  <a:gd name="connsiteY11" fmla="*/ 87065 h 126131"/>
                  <a:gd name="connsiteX12" fmla="*/ 87836 w 103933"/>
                  <a:gd name="connsiteY12" fmla="*/ 112211 h 126131"/>
                  <a:gd name="connsiteX13" fmla="*/ 53546 w 103933"/>
                  <a:gd name="connsiteY13" fmla="*/ 126117 h 126131"/>
                  <a:gd name="connsiteX14" fmla="*/ 15446 w 103933"/>
                  <a:gd name="connsiteY14" fmla="*/ 109163 h 126131"/>
                  <a:gd name="connsiteX15" fmla="*/ 111 w 103933"/>
                  <a:gd name="connsiteY15" fmla="*/ 63538 h 126131"/>
                  <a:gd name="connsiteX16" fmla="*/ 11827 w 103933"/>
                  <a:gd name="connsiteY16" fmla="*/ 20866 h 126131"/>
                  <a:gd name="connsiteX17" fmla="*/ 52594 w 103933"/>
                  <a:gd name="connsiteY17" fmla="*/ 6 h 126131"/>
                  <a:gd name="connsiteX18" fmla="*/ 103934 w 103933"/>
                  <a:gd name="connsiteY18" fmla="*/ 58013 h 126131"/>
                  <a:gd name="connsiteX19" fmla="*/ 103934 w 103933"/>
                  <a:gd name="connsiteY19" fmla="*/ 65919 h 126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933" h="126131">
                    <a:moveTo>
                      <a:pt x="52689" y="11436"/>
                    </a:moveTo>
                    <a:cubicBezTo>
                      <a:pt x="30172" y="11644"/>
                      <a:pt x="12094" y="30063"/>
                      <a:pt x="12303" y="52577"/>
                    </a:cubicBezTo>
                    <a:cubicBezTo>
                      <a:pt x="12303" y="53406"/>
                      <a:pt x="12341" y="54234"/>
                      <a:pt x="12398" y="55061"/>
                    </a:cubicBezTo>
                    <a:lnTo>
                      <a:pt x="91742" y="55061"/>
                    </a:lnTo>
                    <a:cubicBezTo>
                      <a:pt x="91265" y="32296"/>
                      <a:pt x="77073" y="11436"/>
                      <a:pt x="52689" y="11436"/>
                    </a:cubicBezTo>
                    <a:moveTo>
                      <a:pt x="103743" y="66110"/>
                    </a:moveTo>
                    <a:lnTo>
                      <a:pt x="12113" y="66110"/>
                    </a:lnTo>
                    <a:cubicBezTo>
                      <a:pt x="12094" y="79145"/>
                      <a:pt x="16494" y="91801"/>
                      <a:pt x="24590" y="102019"/>
                    </a:cubicBezTo>
                    <a:cubicBezTo>
                      <a:pt x="31686" y="110371"/>
                      <a:pt x="42212" y="115035"/>
                      <a:pt x="53165" y="114687"/>
                    </a:cubicBezTo>
                    <a:cubicBezTo>
                      <a:pt x="62948" y="114897"/>
                      <a:pt x="72387" y="111073"/>
                      <a:pt x="79264" y="104114"/>
                    </a:cubicBezTo>
                    <a:cubicBezTo>
                      <a:pt x="84074" y="99509"/>
                      <a:pt x="87389" y="93571"/>
                      <a:pt x="88789" y="87065"/>
                    </a:cubicBezTo>
                    <a:lnTo>
                      <a:pt x="101267" y="87065"/>
                    </a:lnTo>
                    <a:cubicBezTo>
                      <a:pt x="99667" y="96693"/>
                      <a:pt x="94952" y="105529"/>
                      <a:pt x="87836" y="112211"/>
                    </a:cubicBezTo>
                    <a:cubicBezTo>
                      <a:pt x="78750" y="121278"/>
                      <a:pt x="66386" y="126293"/>
                      <a:pt x="53546" y="126117"/>
                    </a:cubicBezTo>
                    <a:cubicBezTo>
                      <a:pt x="38945" y="126468"/>
                      <a:pt x="24962" y="120244"/>
                      <a:pt x="15446" y="109163"/>
                    </a:cubicBezTo>
                    <a:cubicBezTo>
                      <a:pt x="5045" y="96277"/>
                      <a:pt x="-394" y="80090"/>
                      <a:pt x="111" y="63538"/>
                    </a:cubicBezTo>
                    <a:cubicBezTo>
                      <a:pt x="-746" y="48417"/>
                      <a:pt x="3369" y="33431"/>
                      <a:pt x="11827" y="20866"/>
                    </a:cubicBezTo>
                    <a:cubicBezTo>
                      <a:pt x="21104" y="7568"/>
                      <a:pt x="36382" y="-250"/>
                      <a:pt x="52594" y="6"/>
                    </a:cubicBezTo>
                    <a:cubicBezTo>
                      <a:pt x="84979" y="6"/>
                      <a:pt x="103934" y="27819"/>
                      <a:pt x="103934" y="58013"/>
                    </a:cubicBezTo>
                    <a:cubicBezTo>
                      <a:pt x="103934" y="60871"/>
                      <a:pt x="103934" y="63062"/>
                      <a:pt x="103934" y="65919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44E1716F-3A49-4529-A5DE-FADBF35069DF}"/>
                  </a:ext>
                </a:extLst>
              </p:cNvPr>
              <p:cNvSpPr/>
              <p:nvPr/>
            </p:nvSpPr>
            <p:spPr>
              <a:xfrm>
                <a:off x="11115142" y="4897114"/>
                <a:ext cx="61817" cy="120742"/>
              </a:xfrm>
              <a:custGeom>
                <a:avLst/>
                <a:gdLst>
                  <a:gd name="connsiteX0" fmla="*/ 50102 w 61817"/>
                  <a:gd name="connsiteY0" fmla="*/ 11586 h 120742"/>
                  <a:gd name="connsiteX1" fmla="*/ 12002 w 61817"/>
                  <a:gd name="connsiteY1" fmla="*/ 63593 h 120742"/>
                  <a:gd name="connsiteX2" fmla="*/ 12002 w 61817"/>
                  <a:gd name="connsiteY2" fmla="*/ 120743 h 120742"/>
                  <a:gd name="connsiteX3" fmla="*/ 0 w 61817"/>
                  <a:gd name="connsiteY3" fmla="*/ 120743 h 120742"/>
                  <a:gd name="connsiteX4" fmla="*/ 0 w 61817"/>
                  <a:gd name="connsiteY4" fmla="*/ 1299 h 120742"/>
                  <a:gd name="connsiteX5" fmla="*/ 10573 w 61817"/>
                  <a:gd name="connsiteY5" fmla="*/ 1299 h 120742"/>
                  <a:gd name="connsiteX6" fmla="*/ 12002 w 61817"/>
                  <a:gd name="connsiteY6" fmla="*/ 25493 h 120742"/>
                  <a:gd name="connsiteX7" fmla="*/ 50102 w 61817"/>
                  <a:gd name="connsiteY7" fmla="*/ 61 h 120742"/>
                  <a:gd name="connsiteX8" fmla="*/ 61817 w 61817"/>
                  <a:gd name="connsiteY8" fmla="*/ 823 h 120742"/>
                  <a:gd name="connsiteX9" fmla="*/ 61817 w 61817"/>
                  <a:gd name="connsiteY9" fmla="*/ 12824 h 120742"/>
                  <a:gd name="connsiteX10" fmla="*/ 50102 w 61817"/>
                  <a:gd name="connsiteY10" fmla="*/ 11586 h 120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817" h="120742">
                    <a:moveTo>
                      <a:pt x="50102" y="11586"/>
                    </a:moveTo>
                    <a:cubicBezTo>
                      <a:pt x="20098" y="11586"/>
                      <a:pt x="12002" y="38447"/>
                      <a:pt x="12002" y="63593"/>
                    </a:cubicBezTo>
                    <a:lnTo>
                      <a:pt x="12002" y="120743"/>
                    </a:lnTo>
                    <a:lnTo>
                      <a:pt x="0" y="120743"/>
                    </a:lnTo>
                    <a:lnTo>
                      <a:pt x="0" y="1299"/>
                    </a:lnTo>
                    <a:lnTo>
                      <a:pt x="10573" y="1299"/>
                    </a:lnTo>
                    <a:lnTo>
                      <a:pt x="12002" y="25493"/>
                    </a:lnTo>
                    <a:cubicBezTo>
                      <a:pt x="17621" y="9475"/>
                      <a:pt x="33157" y="-895"/>
                      <a:pt x="50102" y="61"/>
                    </a:cubicBezTo>
                    <a:cubicBezTo>
                      <a:pt x="54026" y="-42"/>
                      <a:pt x="57941" y="213"/>
                      <a:pt x="61817" y="823"/>
                    </a:cubicBezTo>
                    <a:lnTo>
                      <a:pt x="61817" y="12824"/>
                    </a:lnTo>
                    <a:cubicBezTo>
                      <a:pt x="57979" y="11936"/>
                      <a:pt x="54045" y="11521"/>
                      <a:pt x="50102" y="11586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0560FF82-6292-4845-B0F9-74959F829FED}"/>
                  </a:ext>
                </a:extLst>
              </p:cNvPr>
              <p:cNvSpPr/>
              <p:nvPr/>
            </p:nvSpPr>
            <p:spPr>
              <a:xfrm>
                <a:off x="11193247" y="4895254"/>
                <a:ext cx="96495" cy="126210"/>
              </a:xfrm>
              <a:custGeom>
                <a:avLst/>
                <a:gdLst>
                  <a:gd name="connsiteX0" fmla="*/ 88297 w 96495"/>
                  <a:gd name="connsiteY0" fmla="*/ 111744 h 126210"/>
                  <a:gd name="connsiteX1" fmla="*/ 49625 w 96495"/>
                  <a:gd name="connsiteY1" fmla="*/ 126127 h 126210"/>
                  <a:gd name="connsiteX2" fmla="*/ 10287 w 96495"/>
                  <a:gd name="connsiteY2" fmla="*/ 110792 h 126210"/>
                  <a:gd name="connsiteX3" fmla="*/ 0 w 96495"/>
                  <a:gd name="connsiteY3" fmla="*/ 86694 h 126210"/>
                  <a:gd name="connsiteX4" fmla="*/ 12192 w 96495"/>
                  <a:gd name="connsiteY4" fmla="*/ 86694 h 126210"/>
                  <a:gd name="connsiteX5" fmla="*/ 21050 w 96495"/>
                  <a:gd name="connsiteY5" fmla="*/ 105172 h 126210"/>
                  <a:gd name="connsiteX6" fmla="*/ 77629 w 96495"/>
                  <a:gd name="connsiteY6" fmla="*/ 105934 h 126210"/>
                  <a:gd name="connsiteX7" fmla="*/ 84106 w 96495"/>
                  <a:gd name="connsiteY7" fmla="*/ 90599 h 126210"/>
                  <a:gd name="connsiteX8" fmla="*/ 62008 w 96495"/>
                  <a:gd name="connsiteY8" fmla="*/ 68787 h 126210"/>
                  <a:gd name="connsiteX9" fmla="*/ 38767 w 96495"/>
                  <a:gd name="connsiteY9" fmla="*/ 65643 h 126210"/>
                  <a:gd name="connsiteX10" fmla="*/ 11525 w 96495"/>
                  <a:gd name="connsiteY10" fmla="*/ 53547 h 126210"/>
                  <a:gd name="connsiteX11" fmla="*/ 4858 w 96495"/>
                  <a:gd name="connsiteY11" fmla="*/ 34497 h 126210"/>
                  <a:gd name="connsiteX12" fmla="*/ 15145 w 96495"/>
                  <a:gd name="connsiteY12" fmla="*/ 11256 h 126210"/>
                  <a:gd name="connsiteX13" fmla="*/ 84201 w 96495"/>
                  <a:gd name="connsiteY13" fmla="*/ 14113 h 126210"/>
                  <a:gd name="connsiteX14" fmla="*/ 93726 w 96495"/>
                  <a:gd name="connsiteY14" fmla="*/ 36211 h 126210"/>
                  <a:gd name="connsiteX15" fmla="*/ 81724 w 96495"/>
                  <a:gd name="connsiteY15" fmla="*/ 36211 h 126210"/>
                  <a:gd name="connsiteX16" fmla="*/ 75724 w 96495"/>
                  <a:gd name="connsiteY16" fmla="*/ 21828 h 126210"/>
                  <a:gd name="connsiteX17" fmla="*/ 48387 w 96495"/>
                  <a:gd name="connsiteY17" fmla="*/ 11256 h 126210"/>
                  <a:gd name="connsiteX18" fmla="*/ 26860 w 96495"/>
                  <a:gd name="connsiteY18" fmla="*/ 16780 h 126210"/>
                  <a:gd name="connsiteX19" fmla="*/ 17335 w 96495"/>
                  <a:gd name="connsiteY19" fmla="*/ 33354 h 126210"/>
                  <a:gd name="connsiteX20" fmla="*/ 40576 w 96495"/>
                  <a:gd name="connsiteY20" fmla="*/ 53547 h 126210"/>
                  <a:gd name="connsiteX21" fmla="*/ 63341 w 96495"/>
                  <a:gd name="connsiteY21" fmla="*/ 56690 h 126210"/>
                  <a:gd name="connsiteX22" fmla="*/ 96488 w 96495"/>
                  <a:gd name="connsiteY22" fmla="*/ 89742 h 126210"/>
                  <a:gd name="connsiteX23" fmla="*/ 88297 w 96495"/>
                  <a:gd name="connsiteY23" fmla="*/ 111840 h 12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96495" h="126210">
                    <a:moveTo>
                      <a:pt x="88297" y="111744"/>
                    </a:moveTo>
                    <a:cubicBezTo>
                      <a:pt x="77962" y="121695"/>
                      <a:pt x="63951" y="126904"/>
                      <a:pt x="49625" y="126127"/>
                    </a:cubicBezTo>
                    <a:cubicBezTo>
                      <a:pt x="34909" y="126969"/>
                      <a:pt x="20555" y="121372"/>
                      <a:pt x="10287" y="110792"/>
                    </a:cubicBezTo>
                    <a:cubicBezTo>
                      <a:pt x="3934" y="104347"/>
                      <a:pt x="267" y="95738"/>
                      <a:pt x="0" y="86694"/>
                    </a:cubicBezTo>
                    <a:lnTo>
                      <a:pt x="12192" y="86694"/>
                    </a:lnTo>
                    <a:cubicBezTo>
                      <a:pt x="12878" y="93704"/>
                      <a:pt x="16012" y="100248"/>
                      <a:pt x="21050" y="105172"/>
                    </a:cubicBezTo>
                    <a:cubicBezTo>
                      <a:pt x="37700" y="117816"/>
                      <a:pt x="60646" y="118125"/>
                      <a:pt x="77629" y="105934"/>
                    </a:cubicBezTo>
                    <a:cubicBezTo>
                      <a:pt x="82029" y="102086"/>
                      <a:pt x="84411" y="96433"/>
                      <a:pt x="84106" y="90599"/>
                    </a:cubicBezTo>
                    <a:cubicBezTo>
                      <a:pt x="83753" y="78592"/>
                      <a:pt x="74019" y="68985"/>
                      <a:pt x="62008" y="68787"/>
                    </a:cubicBezTo>
                    <a:lnTo>
                      <a:pt x="38767" y="65643"/>
                    </a:lnTo>
                    <a:cubicBezTo>
                      <a:pt x="28508" y="65077"/>
                      <a:pt x="18821" y="60773"/>
                      <a:pt x="11525" y="53547"/>
                    </a:cubicBezTo>
                    <a:cubicBezTo>
                      <a:pt x="7058" y="48219"/>
                      <a:pt x="4686" y="41446"/>
                      <a:pt x="4858" y="34497"/>
                    </a:cubicBezTo>
                    <a:cubicBezTo>
                      <a:pt x="4801" y="25634"/>
                      <a:pt x="8544" y="17172"/>
                      <a:pt x="15145" y="11256"/>
                    </a:cubicBezTo>
                    <a:cubicBezTo>
                      <a:pt x="35776" y="-4770"/>
                      <a:pt x="64960" y="-3563"/>
                      <a:pt x="84201" y="14113"/>
                    </a:cubicBezTo>
                    <a:cubicBezTo>
                      <a:pt x="89783" y="20190"/>
                      <a:pt x="93145" y="27980"/>
                      <a:pt x="93726" y="36211"/>
                    </a:cubicBezTo>
                    <a:lnTo>
                      <a:pt x="81724" y="36211"/>
                    </a:lnTo>
                    <a:cubicBezTo>
                      <a:pt x="81096" y="30953"/>
                      <a:pt x="79019" y="25974"/>
                      <a:pt x="75724" y="21828"/>
                    </a:cubicBezTo>
                    <a:cubicBezTo>
                      <a:pt x="68618" y="14447"/>
                      <a:pt x="58607" y="10578"/>
                      <a:pt x="48387" y="11256"/>
                    </a:cubicBezTo>
                    <a:cubicBezTo>
                      <a:pt x="40805" y="10748"/>
                      <a:pt x="33261" y="12684"/>
                      <a:pt x="26860" y="16780"/>
                    </a:cubicBezTo>
                    <a:cubicBezTo>
                      <a:pt x="21126" y="20381"/>
                      <a:pt x="17564" y="26591"/>
                      <a:pt x="17335" y="33354"/>
                    </a:cubicBezTo>
                    <a:cubicBezTo>
                      <a:pt x="17335" y="43450"/>
                      <a:pt x="22384" y="51070"/>
                      <a:pt x="40576" y="53547"/>
                    </a:cubicBezTo>
                    <a:lnTo>
                      <a:pt x="63341" y="56690"/>
                    </a:lnTo>
                    <a:cubicBezTo>
                      <a:pt x="85915" y="59738"/>
                      <a:pt x="96488" y="75168"/>
                      <a:pt x="96488" y="89742"/>
                    </a:cubicBezTo>
                    <a:cubicBezTo>
                      <a:pt x="96660" y="97880"/>
                      <a:pt x="93726" y="105779"/>
                      <a:pt x="88297" y="111840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C7A84474-F3CE-4AE1-8673-5B14D2149C8A}"/>
                  </a:ext>
                </a:extLst>
              </p:cNvPr>
              <p:cNvSpPr/>
              <p:nvPr/>
            </p:nvSpPr>
            <p:spPr>
              <a:xfrm>
                <a:off x="11325835" y="4848598"/>
                <a:ext cx="16764" cy="169640"/>
              </a:xfrm>
              <a:custGeom>
                <a:avLst/>
                <a:gdLst>
                  <a:gd name="connsiteX0" fmla="*/ 2191 w 16764"/>
                  <a:gd name="connsiteY0" fmla="*/ 49816 h 169640"/>
                  <a:gd name="connsiteX1" fmla="*/ 14954 w 16764"/>
                  <a:gd name="connsiteY1" fmla="*/ 49816 h 169640"/>
                  <a:gd name="connsiteX2" fmla="*/ 14954 w 16764"/>
                  <a:gd name="connsiteY2" fmla="*/ 169640 h 169640"/>
                  <a:gd name="connsiteX3" fmla="*/ 2191 w 16764"/>
                  <a:gd name="connsiteY3" fmla="*/ 169640 h 169640"/>
                  <a:gd name="connsiteX4" fmla="*/ 0 w 16764"/>
                  <a:gd name="connsiteY4" fmla="*/ 0 h 169640"/>
                  <a:gd name="connsiteX5" fmla="*/ 16764 w 16764"/>
                  <a:gd name="connsiteY5" fmla="*/ 0 h 169640"/>
                  <a:gd name="connsiteX6" fmla="*/ 16764 w 16764"/>
                  <a:gd name="connsiteY6" fmla="*/ 16764 h 169640"/>
                  <a:gd name="connsiteX7" fmla="*/ 0 w 16764"/>
                  <a:gd name="connsiteY7" fmla="*/ 16764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64" h="169640">
                    <a:moveTo>
                      <a:pt x="2191" y="49816"/>
                    </a:moveTo>
                    <a:lnTo>
                      <a:pt x="14954" y="49816"/>
                    </a:lnTo>
                    <a:lnTo>
                      <a:pt x="14954" y="169640"/>
                    </a:lnTo>
                    <a:lnTo>
                      <a:pt x="2191" y="169640"/>
                    </a:lnTo>
                    <a:close/>
                    <a:moveTo>
                      <a:pt x="0" y="0"/>
                    </a:moveTo>
                    <a:lnTo>
                      <a:pt x="16764" y="0"/>
                    </a:lnTo>
                    <a:lnTo>
                      <a:pt x="16764" y="16764"/>
                    </a:lnTo>
                    <a:lnTo>
                      <a:pt x="0" y="167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EE8B6BA1-7BF8-4A40-BEF0-DEB58322F09C}"/>
                  </a:ext>
                </a:extLst>
              </p:cNvPr>
              <p:cNvSpPr/>
              <p:nvPr/>
            </p:nvSpPr>
            <p:spPr>
              <a:xfrm>
                <a:off x="11371270" y="4862409"/>
                <a:ext cx="74961" cy="157638"/>
              </a:xfrm>
              <a:custGeom>
                <a:avLst/>
                <a:gdLst>
                  <a:gd name="connsiteX0" fmla="*/ 54864 w 74961"/>
                  <a:gd name="connsiteY0" fmla="*/ 157639 h 157638"/>
                  <a:gd name="connsiteX1" fmla="*/ 24003 w 74961"/>
                  <a:gd name="connsiteY1" fmla="*/ 122492 h 157638"/>
                  <a:gd name="connsiteX2" fmla="*/ 24003 w 74961"/>
                  <a:gd name="connsiteY2" fmla="*/ 46958 h 157638"/>
                  <a:gd name="connsiteX3" fmla="*/ 0 w 74961"/>
                  <a:gd name="connsiteY3" fmla="*/ 46958 h 157638"/>
                  <a:gd name="connsiteX4" fmla="*/ 0 w 74961"/>
                  <a:gd name="connsiteY4" fmla="*/ 36004 h 157638"/>
                  <a:gd name="connsiteX5" fmla="*/ 24003 w 74961"/>
                  <a:gd name="connsiteY5" fmla="*/ 36004 h 157638"/>
                  <a:gd name="connsiteX6" fmla="*/ 24003 w 74961"/>
                  <a:gd name="connsiteY6" fmla="*/ 2858 h 157638"/>
                  <a:gd name="connsiteX7" fmla="*/ 36004 w 74961"/>
                  <a:gd name="connsiteY7" fmla="*/ 0 h 157638"/>
                  <a:gd name="connsiteX8" fmla="*/ 36004 w 74961"/>
                  <a:gd name="connsiteY8" fmla="*/ 36004 h 157638"/>
                  <a:gd name="connsiteX9" fmla="*/ 73152 w 74961"/>
                  <a:gd name="connsiteY9" fmla="*/ 36004 h 157638"/>
                  <a:gd name="connsiteX10" fmla="*/ 73152 w 74961"/>
                  <a:gd name="connsiteY10" fmla="*/ 47053 h 157638"/>
                  <a:gd name="connsiteX11" fmla="*/ 36004 w 74961"/>
                  <a:gd name="connsiteY11" fmla="*/ 47053 h 157638"/>
                  <a:gd name="connsiteX12" fmla="*/ 36004 w 74961"/>
                  <a:gd name="connsiteY12" fmla="*/ 122111 h 157638"/>
                  <a:gd name="connsiteX13" fmla="*/ 55912 w 74961"/>
                  <a:gd name="connsiteY13" fmla="*/ 146304 h 157638"/>
                  <a:gd name="connsiteX14" fmla="*/ 74962 w 74961"/>
                  <a:gd name="connsiteY14" fmla="*/ 144113 h 157638"/>
                  <a:gd name="connsiteX15" fmla="*/ 74962 w 74961"/>
                  <a:gd name="connsiteY15" fmla="*/ 154686 h 157638"/>
                  <a:gd name="connsiteX16" fmla="*/ 55054 w 74961"/>
                  <a:gd name="connsiteY16" fmla="*/ 157544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961" h="157638">
                    <a:moveTo>
                      <a:pt x="54864" y="157639"/>
                    </a:moveTo>
                    <a:cubicBezTo>
                      <a:pt x="32575" y="157639"/>
                      <a:pt x="24003" y="143351"/>
                      <a:pt x="24003" y="122492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8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3152" y="36004"/>
                    </a:lnTo>
                    <a:lnTo>
                      <a:pt x="73152" y="47053"/>
                    </a:lnTo>
                    <a:lnTo>
                      <a:pt x="36004" y="47053"/>
                    </a:lnTo>
                    <a:lnTo>
                      <a:pt x="36004" y="122111"/>
                    </a:lnTo>
                    <a:cubicBezTo>
                      <a:pt x="36004" y="136303"/>
                      <a:pt x="39814" y="146304"/>
                      <a:pt x="55912" y="146304"/>
                    </a:cubicBezTo>
                    <a:cubicBezTo>
                      <a:pt x="62312" y="146170"/>
                      <a:pt x="68694" y="145436"/>
                      <a:pt x="74962" y="144113"/>
                    </a:cubicBezTo>
                    <a:lnTo>
                      <a:pt x="74962" y="154686"/>
                    </a:lnTo>
                    <a:cubicBezTo>
                      <a:pt x="68446" y="156339"/>
                      <a:pt x="61769" y="157296"/>
                      <a:pt x="5505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1D047987-506F-4C10-B7ED-539899C91426}"/>
                  </a:ext>
                </a:extLst>
              </p:cNvPr>
              <p:cNvSpPr/>
              <p:nvPr/>
            </p:nvSpPr>
            <p:spPr>
              <a:xfrm>
                <a:off x="11468329" y="4853741"/>
                <a:ext cx="109061" cy="167702"/>
              </a:xfrm>
              <a:custGeom>
                <a:avLst/>
                <a:gdLst>
                  <a:gd name="connsiteX0" fmla="*/ 67818 w 109061"/>
                  <a:gd name="connsiteY0" fmla="*/ 0 h 167702"/>
                  <a:gd name="connsiteX1" fmla="*/ 82486 w 109061"/>
                  <a:gd name="connsiteY1" fmla="*/ 0 h 167702"/>
                  <a:gd name="connsiteX2" fmla="*/ 82486 w 109061"/>
                  <a:gd name="connsiteY2" fmla="*/ 15145 h 167702"/>
                  <a:gd name="connsiteX3" fmla="*/ 67818 w 109061"/>
                  <a:gd name="connsiteY3" fmla="*/ 15145 h 167702"/>
                  <a:gd name="connsiteX4" fmla="*/ 23717 w 109061"/>
                  <a:gd name="connsiteY4" fmla="*/ 0 h 167702"/>
                  <a:gd name="connsiteX5" fmla="*/ 38100 w 109061"/>
                  <a:gd name="connsiteY5" fmla="*/ 0 h 167702"/>
                  <a:gd name="connsiteX6" fmla="*/ 38100 w 109061"/>
                  <a:gd name="connsiteY6" fmla="*/ 15145 h 167702"/>
                  <a:gd name="connsiteX7" fmla="*/ 23717 w 109061"/>
                  <a:gd name="connsiteY7" fmla="*/ 15145 h 167702"/>
                  <a:gd name="connsiteX8" fmla="*/ 84106 w 109061"/>
                  <a:gd name="connsiteY8" fmla="*/ 102870 h 167702"/>
                  <a:gd name="connsiteX9" fmla="*/ 41148 w 109061"/>
                  <a:gd name="connsiteY9" fmla="*/ 105537 h 167702"/>
                  <a:gd name="connsiteX10" fmla="*/ 11906 w 109061"/>
                  <a:gd name="connsiteY10" fmla="*/ 130683 h 167702"/>
                  <a:gd name="connsiteX11" fmla="*/ 41815 w 109061"/>
                  <a:gd name="connsiteY11" fmla="*/ 156591 h 167702"/>
                  <a:gd name="connsiteX12" fmla="*/ 84010 w 109061"/>
                  <a:gd name="connsiteY12" fmla="*/ 108966 h 167702"/>
                  <a:gd name="connsiteX13" fmla="*/ 103156 w 109061"/>
                  <a:gd name="connsiteY13" fmla="*/ 165259 h 167702"/>
                  <a:gd name="connsiteX14" fmla="*/ 84106 w 109061"/>
                  <a:gd name="connsiteY14" fmla="*/ 141732 h 167702"/>
                  <a:gd name="connsiteX15" fmla="*/ 41243 w 109061"/>
                  <a:gd name="connsiteY15" fmla="*/ 167640 h 167702"/>
                  <a:gd name="connsiteX16" fmla="*/ 0 w 109061"/>
                  <a:gd name="connsiteY16" fmla="*/ 130683 h 167702"/>
                  <a:gd name="connsiteX17" fmla="*/ 40291 w 109061"/>
                  <a:gd name="connsiteY17" fmla="*/ 94964 h 167702"/>
                  <a:gd name="connsiteX18" fmla="*/ 84391 w 109061"/>
                  <a:gd name="connsiteY18" fmla="*/ 91821 h 167702"/>
                  <a:gd name="connsiteX19" fmla="*/ 84391 w 109061"/>
                  <a:gd name="connsiteY19" fmla="*/ 80582 h 167702"/>
                  <a:gd name="connsiteX20" fmla="*/ 52768 w 109061"/>
                  <a:gd name="connsiteY20" fmla="*/ 53245 h 167702"/>
                  <a:gd name="connsiteX21" fmla="*/ 18192 w 109061"/>
                  <a:gd name="connsiteY21" fmla="*/ 79629 h 167702"/>
                  <a:gd name="connsiteX22" fmla="*/ 6001 w 109061"/>
                  <a:gd name="connsiteY22" fmla="*/ 79629 h 167702"/>
                  <a:gd name="connsiteX23" fmla="*/ 52483 w 109061"/>
                  <a:gd name="connsiteY23" fmla="*/ 41529 h 167702"/>
                  <a:gd name="connsiteX24" fmla="*/ 93059 w 109061"/>
                  <a:gd name="connsiteY24" fmla="*/ 63532 h 167702"/>
                  <a:gd name="connsiteX25" fmla="*/ 96202 w 109061"/>
                  <a:gd name="connsiteY25" fmla="*/ 86582 h 167702"/>
                  <a:gd name="connsiteX26" fmla="*/ 96202 w 109061"/>
                  <a:gd name="connsiteY26" fmla="*/ 141256 h 167702"/>
                  <a:gd name="connsiteX27" fmla="*/ 105727 w 109061"/>
                  <a:gd name="connsiteY27" fmla="*/ 154210 h 167702"/>
                  <a:gd name="connsiteX28" fmla="*/ 109061 w 109061"/>
                  <a:gd name="connsiteY28" fmla="*/ 154210 h 167702"/>
                  <a:gd name="connsiteX29" fmla="*/ 109061 w 109061"/>
                  <a:gd name="connsiteY29" fmla="*/ 164783 h 167702"/>
                  <a:gd name="connsiteX30" fmla="*/ 103346 w 109061"/>
                  <a:gd name="connsiteY30" fmla="*/ 165545 h 167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09061" h="167702">
                    <a:moveTo>
                      <a:pt x="67818" y="0"/>
                    </a:moveTo>
                    <a:lnTo>
                      <a:pt x="82486" y="0"/>
                    </a:lnTo>
                    <a:lnTo>
                      <a:pt x="82486" y="15145"/>
                    </a:lnTo>
                    <a:lnTo>
                      <a:pt x="67818" y="15145"/>
                    </a:lnTo>
                    <a:close/>
                    <a:moveTo>
                      <a:pt x="23717" y="0"/>
                    </a:moveTo>
                    <a:lnTo>
                      <a:pt x="38100" y="0"/>
                    </a:lnTo>
                    <a:lnTo>
                      <a:pt x="38100" y="15145"/>
                    </a:lnTo>
                    <a:lnTo>
                      <a:pt x="23717" y="15145"/>
                    </a:lnTo>
                    <a:close/>
                    <a:moveTo>
                      <a:pt x="84106" y="102870"/>
                    </a:moveTo>
                    <a:lnTo>
                      <a:pt x="41148" y="105537"/>
                    </a:lnTo>
                    <a:cubicBezTo>
                      <a:pt x="23431" y="106680"/>
                      <a:pt x="11906" y="116014"/>
                      <a:pt x="11906" y="130683"/>
                    </a:cubicBezTo>
                    <a:cubicBezTo>
                      <a:pt x="11906" y="147923"/>
                      <a:pt x="24860" y="156591"/>
                      <a:pt x="41815" y="156591"/>
                    </a:cubicBezTo>
                    <a:cubicBezTo>
                      <a:pt x="72009" y="156591"/>
                      <a:pt x="84010" y="132112"/>
                      <a:pt x="84010" y="108966"/>
                    </a:cubicBezTo>
                    <a:close/>
                    <a:moveTo>
                      <a:pt x="103156" y="165259"/>
                    </a:moveTo>
                    <a:cubicBezTo>
                      <a:pt x="88297" y="165259"/>
                      <a:pt x="84106" y="154496"/>
                      <a:pt x="84106" y="141732"/>
                    </a:cubicBezTo>
                    <a:cubicBezTo>
                      <a:pt x="76476" y="158337"/>
                      <a:pt x="59493" y="168605"/>
                      <a:pt x="41243" y="167640"/>
                    </a:cubicBezTo>
                    <a:cubicBezTo>
                      <a:pt x="18002" y="167640"/>
                      <a:pt x="0" y="153734"/>
                      <a:pt x="0" y="130683"/>
                    </a:cubicBezTo>
                    <a:cubicBezTo>
                      <a:pt x="0" y="109347"/>
                      <a:pt x="16573" y="96584"/>
                      <a:pt x="40291" y="94964"/>
                    </a:cubicBezTo>
                    <a:lnTo>
                      <a:pt x="84391" y="91821"/>
                    </a:lnTo>
                    <a:lnTo>
                      <a:pt x="84391" y="80582"/>
                    </a:lnTo>
                    <a:cubicBezTo>
                      <a:pt x="84391" y="60674"/>
                      <a:pt x="70961" y="53245"/>
                      <a:pt x="52768" y="53245"/>
                    </a:cubicBezTo>
                    <a:cubicBezTo>
                      <a:pt x="34576" y="53245"/>
                      <a:pt x="19431" y="61817"/>
                      <a:pt x="18192" y="79629"/>
                    </a:cubicBezTo>
                    <a:lnTo>
                      <a:pt x="6001" y="79629"/>
                    </a:lnTo>
                    <a:cubicBezTo>
                      <a:pt x="7715" y="55436"/>
                      <a:pt x="26670" y="41529"/>
                      <a:pt x="52483" y="41529"/>
                    </a:cubicBezTo>
                    <a:cubicBezTo>
                      <a:pt x="68771" y="41529"/>
                      <a:pt x="86582" y="47053"/>
                      <a:pt x="93059" y="63532"/>
                    </a:cubicBezTo>
                    <a:cubicBezTo>
                      <a:pt x="95545" y="70950"/>
                      <a:pt x="96612" y="78770"/>
                      <a:pt x="96202" y="86582"/>
                    </a:cubicBezTo>
                    <a:lnTo>
                      <a:pt x="96202" y="141256"/>
                    </a:lnTo>
                    <a:cubicBezTo>
                      <a:pt x="96202" y="149447"/>
                      <a:pt x="97441" y="154210"/>
                      <a:pt x="105727" y="154210"/>
                    </a:cubicBezTo>
                    <a:cubicBezTo>
                      <a:pt x="106832" y="154336"/>
                      <a:pt x="107956" y="154336"/>
                      <a:pt x="109061" y="154210"/>
                    </a:cubicBezTo>
                    <a:lnTo>
                      <a:pt x="109061" y="164783"/>
                    </a:lnTo>
                    <a:cubicBezTo>
                      <a:pt x="107194" y="165263"/>
                      <a:pt x="105270" y="165518"/>
                      <a:pt x="103346" y="165545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2A46036-1626-4081-B9C8-2FF363309A3C}"/>
                  </a:ext>
                </a:extLst>
              </p:cNvPr>
              <p:cNvSpPr/>
              <p:nvPr/>
            </p:nvSpPr>
            <p:spPr>
              <a:xfrm>
                <a:off x="11593202" y="4862409"/>
                <a:ext cx="74961" cy="157638"/>
              </a:xfrm>
              <a:custGeom>
                <a:avLst/>
                <a:gdLst>
                  <a:gd name="connsiteX0" fmla="*/ 54959 w 74961"/>
                  <a:gd name="connsiteY0" fmla="*/ 157639 h 157638"/>
                  <a:gd name="connsiteX1" fmla="*/ 24003 w 74961"/>
                  <a:gd name="connsiteY1" fmla="*/ 122587 h 157638"/>
                  <a:gd name="connsiteX2" fmla="*/ 24003 w 74961"/>
                  <a:gd name="connsiteY2" fmla="*/ 46958 h 157638"/>
                  <a:gd name="connsiteX3" fmla="*/ 0 w 74961"/>
                  <a:gd name="connsiteY3" fmla="*/ 46958 h 157638"/>
                  <a:gd name="connsiteX4" fmla="*/ 0 w 74961"/>
                  <a:gd name="connsiteY4" fmla="*/ 36004 h 157638"/>
                  <a:gd name="connsiteX5" fmla="*/ 24003 w 74961"/>
                  <a:gd name="connsiteY5" fmla="*/ 36004 h 157638"/>
                  <a:gd name="connsiteX6" fmla="*/ 24003 w 74961"/>
                  <a:gd name="connsiteY6" fmla="*/ 2858 h 157638"/>
                  <a:gd name="connsiteX7" fmla="*/ 36004 w 74961"/>
                  <a:gd name="connsiteY7" fmla="*/ 0 h 157638"/>
                  <a:gd name="connsiteX8" fmla="*/ 36004 w 74961"/>
                  <a:gd name="connsiteY8" fmla="*/ 36004 h 157638"/>
                  <a:gd name="connsiteX9" fmla="*/ 73152 w 74961"/>
                  <a:gd name="connsiteY9" fmla="*/ 36004 h 157638"/>
                  <a:gd name="connsiteX10" fmla="*/ 73152 w 74961"/>
                  <a:gd name="connsiteY10" fmla="*/ 47053 h 157638"/>
                  <a:gd name="connsiteX11" fmla="*/ 36004 w 74961"/>
                  <a:gd name="connsiteY11" fmla="*/ 47053 h 157638"/>
                  <a:gd name="connsiteX12" fmla="*/ 36004 w 74961"/>
                  <a:gd name="connsiteY12" fmla="*/ 122111 h 157638"/>
                  <a:gd name="connsiteX13" fmla="*/ 55912 w 74961"/>
                  <a:gd name="connsiteY13" fmla="*/ 146304 h 157638"/>
                  <a:gd name="connsiteX14" fmla="*/ 74962 w 74961"/>
                  <a:gd name="connsiteY14" fmla="*/ 144113 h 157638"/>
                  <a:gd name="connsiteX15" fmla="*/ 74962 w 74961"/>
                  <a:gd name="connsiteY15" fmla="*/ 154686 h 157638"/>
                  <a:gd name="connsiteX16" fmla="*/ 55054 w 74961"/>
                  <a:gd name="connsiteY16" fmla="*/ 157544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961" h="157638">
                    <a:moveTo>
                      <a:pt x="54959" y="157639"/>
                    </a:moveTo>
                    <a:cubicBezTo>
                      <a:pt x="32671" y="157639"/>
                      <a:pt x="24003" y="143447"/>
                      <a:pt x="24003" y="122587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8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3152" y="36004"/>
                    </a:lnTo>
                    <a:lnTo>
                      <a:pt x="73152" y="47053"/>
                    </a:lnTo>
                    <a:lnTo>
                      <a:pt x="36004" y="47053"/>
                    </a:lnTo>
                    <a:lnTo>
                      <a:pt x="36004" y="122111"/>
                    </a:lnTo>
                    <a:cubicBezTo>
                      <a:pt x="36004" y="136303"/>
                      <a:pt x="39814" y="146304"/>
                      <a:pt x="55912" y="146304"/>
                    </a:cubicBezTo>
                    <a:cubicBezTo>
                      <a:pt x="62312" y="146170"/>
                      <a:pt x="68694" y="145436"/>
                      <a:pt x="74962" y="144113"/>
                    </a:cubicBezTo>
                    <a:lnTo>
                      <a:pt x="74962" y="154686"/>
                    </a:lnTo>
                    <a:cubicBezTo>
                      <a:pt x="68447" y="156339"/>
                      <a:pt x="61770" y="157296"/>
                      <a:pt x="5505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92BA9CF-7C2A-4114-8D87-3393AF6E1D3C}"/>
                  </a:ext>
                </a:extLst>
              </p:cNvPr>
              <p:cNvSpPr/>
              <p:nvPr/>
            </p:nvSpPr>
            <p:spPr>
              <a:xfrm>
                <a:off x="9279085" y="5095200"/>
                <a:ext cx="103840" cy="176240"/>
              </a:xfrm>
              <a:custGeom>
                <a:avLst/>
                <a:gdLst>
                  <a:gd name="connsiteX0" fmla="*/ 76599 w 103840"/>
                  <a:gd name="connsiteY0" fmla="*/ 71247 h 176240"/>
                  <a:gd name="connsiteX1" fmla="*/ 51453 w 103840"/>
                  <a:gd name="connsiteY1" fmla="*/ 61722 h 176240"/>
                  <a:gd name="connsiteX2" fmla="*/ 25831 w 103840"/>
                  <a:gd name="connsiteY2" fmla="*/ 72295 h 176240"/>
                  <a:gd name="connsiteX3" fmla="*/ 12400 w 103840"/>
                  <a:gd name="connsiteY3" fmla="*/ 113062 h 176240"/>
                  <a:gd name="connsiteX4" fmla="*/ 28212 w 103840"/>
                  <a:gd name="connsiteY4" fmla="*/ 156020 h 176240"/>
                  <a:gd name="connsiteX5" fmla="*/ 51929 w 103840"/>
                  <a:gd name="connsiteY5" fmla="*/ 164402 h 176240"/>
                  <a:gd name="connsiteX6" fmla="*/ 76408 w 103840"/>
                  <a:gd name="connsiteY6" fmla="*/ 154877 h 176240"/>
                  <a:gd name="connsiteX7" fmla="*/ 91744 w 103840"/>
                  <a:gd name="connsiteY7" fmla="*/ 113157 h 176240"/>
                  <a:gd name="connsiteX8" fmla="*/ 76599 w 103840"/>
                  <a:gd name="connsiteY8" fmla="*/ 71152 h 176240"/>
                  <a:gd name="connsiteX9" fmla="*/ 92887 w 103840"/>
                  <a:gd name="connsiteY9" fmla="*/ 173069 h 176240"/>
                  <a:gd name="connsiteX10" fmla="*/ 91458 w 103840"/>
                  <a:gd name="connsiteY10" fmla="*/ 152019 h 176240"/>
                  <a:gd name="connsiteX11" fmla="*/ 51644 w 103840"/>
                  <a:gd name="connsiteY11" fmla="*/ 176213 h 176240"/>
                  <a:gd name="connsiteX12" fmla="*/ 19735 w 103840"/>
                  <a:gd name="connsiteY12" fmla="*/ 164973 h 176240"/>
                  <a:gd name="connsiteX13" fmla="*/ 113 w 103840"/>
                  <a:gd name="connsiteY13" fmla="*/ 113443 h 176240"/>
                  <a:gd name="connsiteX14" fmla="*/ 19163 w 103840"/>
                  <a:gd name="connsiteY14" fmla="*/ 62579 h 176240"/>
                  <a:gd name="connsiteX15" fmla="*/ 86426 w 103840"/>
                  <a:gd name="connsiteY15" fmla="*/ 66047 h 176240"/>
                  <a:gd name="connsiteX16" fmla="*/ 91839 w 103840"/>
                  <a:gd name="connsiteY16" fmla="*/ 73343 h 176240"/>
                  <a:gd name="connsiteX17" fmla="*/ 91839 w 103840"/>
                  <a:gd name="connsiteY17" fmla="*/ 0 h 176240"/>
                  <a:gd name="connsiteX18" fmla="*/ 103841 w 103840"/>
                  <a:gd name="connsiteY18" fmla="*/ 0 h 176240"/>
                  <a:gd name="connsiteX19" fmla="*/ 103841 w 103840"/>
                  <a:gd name="connsiteY19" fmla="*/ 173069 h 17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840" h="176240">
                    <a:moveTo>
                      <a:pt x="76599" y="71247"/>
                    </a:moveTo>
                    <a:cubicBezTo>
                      <a:pt x="69828" y="64837"/>
                      <a:pt x="60771" y="61407"/>
                      <a:pt x="51453" y="61722"/>
                    </a:cubicBezTo>
                    <a:cubicBezTo>
                      <a:pt x="41794" y="61423"/>
                      <a:pt x="32469" y="65271"/>
                      <a:pt x="25831" y="72295"/>
                    </a:cubicBezTo>
                    <a:cubicBezTo>
                      <a:pt x="16489" y="83768"/>
                      <a:pt x="11707" y="98283"/>
                      <a:pt x="12400" y="113062"/>
                    </a:cubicBezTo>
                    <a:cubicBezTo>
                      <a:pt x="11384" y="128969"/>
                      <a:pt x="17126" y="144567"/>
                      <a:pt x="28212" y="156020"/>
                    </a:cubicBezTo>
                    <a:cubicBezTo>
                      <a:pt x="34780" y="161700"/>
                      <a:pt x="43250" y="164694"/>
                      <a:pt x="51929" y="164402"/>
                    </a:cubicBezTo>
                    <a:cubicBezTo>
                      <a:pt x="61037" y="164644"/>
                      <a:pt x="69860" y="161212"/>
                      <a:pt x="76408" y="154877"/>
                    </a:cubicBezTo>
                    <a:cubicBezTo>
                      <a:pt x="87046" y="143674"/>
                      <a:pt x="92594" y="128582"/>
                      <a:pt x="91744" y="113157"/>
                    </a:cubicBezTo>
                    <a:cubicBezTo>
                      <a:pt x="93030" y="97621"/>
                      <a:pt x="87503" y="82293"/>
                      <a:pt x="76599" y="71152"/>
                    </a:cubicBezTo>
                    <a:moveTo>
                      <a:pt x="92887" y="173069"/>
                    </a:moveTo>
                    <a:lnTo>
                      <a:pt x="91458" y="152019"/>
                    </a:lnTo>
                    <a:cubicBezTo>
                      <a:pt x="83843" y="166976"/>
                      <a:pt x="68427" y="176343"/>
                      <a:pt x="51644" y="176213"/>
                    </a:cubicBezTo>
                    <a:cubicBezTo>
                      <a:pt x="39972" y="176616"/>
                      <a:pt x="28577" y="172603"/>
                      <a:pt x="19735" y="164973"/>
                    </a:cubicBezTo>
                    <a:cubicBezTo>
                      <a:pt x="6140" y="151384"/>
                      <a:pt x="-1000" y="132633"/>
                      <a:pt x="113" y="113443"/>
                    </a:cubicBezTo>
                    <a:cubicBezTo>
                      <a:pt x="-662" y="94612"/>
                      <a:pt x="6208" y="76268"/>
                      <a:pt x="19163" y="62579"/>
                    </a:cubicBezTo>
                    <a:cubicBezTo>
                      <a:pt x="38695" y="44963"/>
                      <a:pt x="68809" y="46515"/>
                      <a:pt x="86426" y="66047"/>
                    </a:cubicBezTo>
                    <a:cubicBezTo>
                      <a:pt x="88459" y="68301"/>
                      <a:pt x="90271" y="70744"/>
                      <a:pt x="91839" y="73343"/>
                    </a:cubicBezTo>
                    <a:lnTo>
                      <a:pt x="91839" y="0"/>
                    </a:lnTo>
                    <a:lnTo>
                      <a:pt x="103841" y="0"/>
                    </a:lnTo>
                    <a:lnTo>
                      <a:pt x="103841" y="173069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F76F817-BFAD-41B2-84B0-2FD9D07F8198}"/>
                  </a:ext>
                </a:extLst>
              </p:cNvPr>
              <p:cNvSpPr/>
              <p:nvPr/>
            </p:nvSpPr>
            <p:spPr>
              <a:xfrm>
                <a:off x="9419594" y="5145313"/>
                <a:ext cx="104396" cy="126087"/>
              </a:xfrm>
              <a:custGeom>
                <a:avLst/>
                <a:gdLst>
                  <a:gd name="connsiteX0" fmla="*/ 78489 w 104396"/>
                  <a:gd name="connsiteY0" fmla="*/ 22277 h 126087"/>
                  <a:gd name="connsiteX1" fmla="*/ 25721 w 104396"/>
                  <a:gd name="connsiteY1" fmla="*/ 22277 h 126087"/>
                  <a:gd name="connsiteX2" fmla="*/ 12290 w 104396"/>
                  <a:gd name="connsiteY2" fmla="*/ 63044 h 126087"/>
                  <a:gd name="connsiteX3" fmla="*/ 25721 w 104396"/>
                  <a:gd name="connsiteY3" fmla="*/ 103811 h 126087"/>
                  <a:gd name="connsiteX4" fmla="*/ 78489 w 104396"/>
                  <a:gd name="connsiteY4" fmla="*/ 103811 h 126087"/>
                  <a:gd name="connsiteX5" fmla="*/ 91919 w 104396"/>
                  <a:gd name="connsiteY5" fmla="*/ 63044 h 126087"/>
                  <a:gd name="connsiteX6" fmla="*/ 78489 w 104396"/>
                  <a:gd name="connsiteY6" fmla="*/ 22277 h 126087"/>
                  <a:gd name="connsiteX7" fmla="*/ 87157 w 104396"/>
                  <a:gd name="connsiteY7" fmla="*/ 111717 h 126087"/>
                  <a:gd name="connsiteX8" fmla="*/ 17148 w 104396"/>
                  <a:gd name="connsiteY8" fmla="*/ 111717 h 126087"/>
                  <a:gd name="connsiteX9" fmla="*/ 194 w 104396"/>
                  <a:gd name="connsiteY9" fmla="*/ 63044 h 126087"/>
                  <a:gd name="connsiteX10" fmla="*/ 17148 w 104396"/>
                  <a:gd name="connsiteY10" fmla="*/ 14371 h 126087"/>
                  <a:gd name="connsiteX11" fmla="*/ 87157 w 104396"/>
                  <a:gd name="connsiteY11" fmla="*/ 14371 h 126087"/>
                  <a:gd name="connsiteX12" fmla="*/ 104207 w 104396"/>
                  <a:gd name="connsiteY12" fmla="*/ 63044 h 126087"/>
                  <a:gd name="connsiteX13" fmla="*/ 87157 w 104396"/>
                  <a:gd name="connsiteY13" fmla="*/ 111717 h 12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396" h="126087">
                    <a:moveTo>
                      <a:pt x="78489" y="22277"/>
                    </a:moveTo>
                    <a:cubicBezTo>
                      <a:pt x="63745" y="8125"/>
                      <a:pt x="40465" y="8125"/>
                      <a:pt x="25721" y="22277"/>
                    </a:cubicBezTo>
                    <a:cubicBezTo>
                      <a:pt x="15919" y="33494"/>
                      <a:pt x="11081" y="48199"/>
                      <a:pt x="12290" y="63044"/>
                    </a:cubicBezTo>
                    <a:cubicBezTo>
                      <a:pt x="11081" y="77889"/>
                      <a:pt x="15919" y="92593"/>
                      <a:pt x="25721" y="103811"/>
                    </a:cubicBezTo>
                    <a:cubicBezTo>
                      <a:pt x="40465" y="117963"/>
                      <a:pt x="63745" y="117963"/>
                      <a:pt x="78489" y="103811"/>
                    </a:cubicBezTo>
                    <a:cubicBezTo>
                      <a:pt x="88300" y="92598"/>
                      <a:pt x="93139" y="77890"/>
                      <a:pt x="91919" y="63044"/>
                    </a:cubicBezTo>
                    <a:cubicBezTo>
                      <a:pt x="93139" y="48197"/>
                      <a:pt x="88300" y="33490"/>
                      <a:pt x="78489" y="22277"/>
                    </a:cubicBezTo>
                    <a:moveTo>
                      <a:pt x="87157" y="111717"/>
                    </a:moveTo>
                    <a:cubicBezTo>
                      <a:pt x="67755" y="130878"/>
                      <a:pt x="36551" y="130878"/>
                      <a:pt x="17148" y="111717"/>
                    </a:cubicBezTo>
                    <a:cubicBezTo>
                      <a:pt x="4947" y="98573"/>
                      <a:pt x="-1197" y="80924"/>
                      <a:pt x="194" y="63044"/>
                    </a:cubicBezTo>
                    <a:cubicBezTo>
                      <a:pt x="-1197" y="45163"/>
                      <a:pt x="4947" y="27515"/>
                      <a:pt x="17148" y="14371"/>
                    </a:cubicBezTo>
                    <a:cubicBezTo>
                      <a:pt x="36551" y="-4790"/>
                      <a:pt x="67755" y="-4790"/>
                      <a:pt x="87157" y="14371"/>
                    </a:cubicBezTo>
                    <a:cubicBezTo>
                      <a:pt x="99406" y="27493"/>
                      <a:pt x="105588" y="45148"/>
                      <a:pt x="104207" y="63044"/>
                    </a:cubicBezTo>
                    <a:cubicBezTo>
                      <a:pt x="105588" y="80939"/>
                      <a:pt x="99406" y="98595"/>
                      <a:pt x="87157" y="111717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9BAA7525-D303-4855-9DC6-3AE88DFB8306}"/>
                  </a:ext>
                </a:extLst>
              </p:cNvPr>
              <p:cNvSpPr/>
              <p:nvPr/>
            </p:nvSpPr>
            <p:spPr>
              <a:xfrm>
                <a:off x="9560948" y="5147241"/>
                <a:ext cx="61817" cy="120742"/>
              </a:xfrm>
              <a:custGeom>
                <a:avLst/>
                <a:gdLst>
                  <a:gd name="connsiteX0" fmla="*/ 50102 w 61817"/>
                  <a:gd name="connsiteY0" fmla="*/ 11491 h 120742"/>
                  <a:gd name="connsiteX1" fmla="*/ 12002 w 61817"/>
                  <a:gd name="connsiteY1" fmla="*/ 63593 h 120742"/>
                  <a:gd name="connsiteX2" fmla="*/ 12002 w 61817"/>
                  <a:gd name="connsiteY2" fmla="*/ 120743 h 120742"/>
                  <a:gd name="connsiteX3" fmla="*/ 0 w 61817"/>
                  <a:gd name="connsiteY3" fmla="*/ 120743 h 120742"/>
                  <a:gd name="connsiteX4" fmla="*/ 0 w 61817"/>
                  <a:gd name="connsiteY4" fmla="*/ 1204 h 120742"/>
                  <a:gd name="connsiteX5" fmla="*/ 10573 w 61817"/>
                  <a:gd name="connsiteY5" fmla="*/ 1204 h 120742"/>
                  <a:gd name="connsiteX6" fmla="*/ 12002 w 61817"/>
                  <a:gd name="connsiteY6" fmla="*/ 25493 h 120742"/>
                  <a:gd name="connsiteX7" fmla="*/ 50102 w 61817"/>
                  <a:gd name="connsiteY7" fmla="*/ 61 h 120742"/>
                  <a:gd name="connsiteX8" fmla="*/ 61817 w 61817"/>
                  <a:gd name="connsiteY8" fmla="*/ 823 h 120742"/>
                  <a:gd name="connsiteX9" fmla="*/ 61817 w 61817"/>
                  <a:gd name="connsiteY9" fmla="*/ 12824 h 120742"/>
                  <a:gd name="connsiteX10" fmla="*/ 50102 w 61817"/>
                  <a:gd name="connsiteY10" fmla="*/ 11586 h 120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817" h="120742">
                    <a:moveTo>
                      <a:pt x="50102" y="11491"/>
                    </a:moveTo>
                    <a:cubicBezTo>
                      <a:pt x="20098" y="11491"/>
                      <a:pt x="12002" y="38351"/>
                      <a:pt x="12002" y="63593"/>
                    </a:cubicBezTo>
                    <a:lnTo>
                      <a:pt x="12002" y="120743"/>
                    </a:lnTo>
                    <a:lnTo>
                      <a:pt x="0" y="120743"/>
                    </a:lnTo>
                    <a:lnTo>
                      <a:pt x="0" y="1204"/>
                    </a:lnTo>
                    <a:lnTo>
                      <a:pt x="10573" y="1204"/>
                    </a:lnTo>
                    <a:lnTo>
                      <a:pt x="12002" y="25493"/>
                    </a:lnTo>
                    <a:cubicBezTo>
                      <a:pt x="17621" y="9475"/>
                      <a:pt x="33157" y="-895"/>
                      <a:pt x="50102" y="61"/>
                    </a:cubicBezTo>
                    <a:cubicBezTo>
                      <a:pt x="54026" y="-52"/>
                      <a:pt x="57941" y="203"/>
                      <a:pt x="61817" y="823"/>
                    </a:cubicBezTo>
                    <a:lnTo>
                      <a:pt x="61817" y="12824"/>
                    </a:lnTo>
                    <a:cubicBezTo>
                      <a:pt x="57979" y="11942"/>
                      <a:pt x="54045" y="11526"/>
                      <a:pt x="50102" y="11586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C4B157B-4656-47BE-8642-3F6CB82A8E98}"/>
                  </a:ext>
                </a:extLst>
              </p:cNvPr>
              <p:cNvSpPr/>
              <p:nvPr/>
            </p:nvSpPr>
            <p:spPr>
              <a:xfrm>
                <a:off x="9636577" y="5112440"/>
                <a:ext cx="74580" cy="157543"/>
              </a:xfrm>
              <a:custGeom>
                <a:avLst/>
                <a:gdLst>
                  <a:gd name="connsiteX0" fmla="*/ 54959 w 74580"/>
                  <a:gd name="connsiteY0" fmla="*/ 157544 h 157543"/>
                  <a:gd name="connsiteX1" fmla="*/ 24003 w 74580"/>
                  <a:gd name="connsiteY1" fmla="*/ 122492 h 157543"/>
                  <a:gd name="connsiteX2" fmla="*/ 24003 w 74580"/>
                  <a:gd name="connsiteY2" fmla="*/ 46958 h 157543"/>
                  <a:gd name="connsiteX3" fmla="*/ 0 w 74580"/>
                  <a:gd name="connsiteY3" fmla="*/ 46958 h 157543"/>
                  <a:gd name="connsiteX4" fmla="*/ 0 w 74580"/>
                  <a:gd name="connsiteY4" fmla="*/ 36004 h 157543"/>
                  <a:gd name="connsiteX5" fmla="*/ 24003 w 74580"/>
                  <a:gd name="connsiteY5" fmla="*/ 36004 h 157543"/>
                  <a:gd name="connsiteX6" fmla="*/ 24003 w 74580"/>
                  <a:gd name="connsiteY6" fmla="*/ 2857 h 157543"/>
                  <a:gd name="connsiteX7" fmla="*/ 36004 w 74580"/>
                  <a:gd name="connsiteY7" fmla="*/ 0 h 157543"/>
                  <a:gd name="connsiteX8" fmla="*/ 36004 w 74580"/>
                  <a:gd name="connsiteY8" fmla="*/ 36004 h 157543"/>
                  <a:gd name="connsiteX9" fmla="*/ 72771 w 74580"/>
                  <a:gd name="connsiteY9" fmla="*/ 36004 h 157543"/>
                  <a:gd name="connsiteX10" fmla="*/ 72771 w 74580"/>
                  <a:gd name="connsiteY10" fmla="*/ 47053 h 157543"/>
                  <a:gd name="connsiteX11" fmla="*/ 35624 w 74580"/>
                  <a:gd name="connsiteY11" fmla="*/ 47053 h 157543"/>
                  <a:gd name="connsiteX12" fmla="*/ 35624 w 74580"/>
                  <a:gd name="connsiteY12" fmla="*/ 122111 h 157543"/>
                  <a:gd name="connsiteX13" fmla="*/ 55531 w 74580"/>
                  <a:gd name="connsiteY13" fmla="*/ 146304 h 157543"/>
                  <a:gd name="connsiteX14" fmla="*/ 74581 w 74580"/>
                  <a:gd name="connsiteY14" fmla="*/ 144113 h 157543"/>
                  <a:gd name="connsiteX15" fmla="*/ 74581 w 74580"/>
                  <a:gd name="connsiteY15" fmla="*/ 154686 h 157543"/>
                  <a:gd name="connsiteX16" fmla="*/ 54674 w 74580"/>
                  <a:gd name="connsiteY16" fmla="*/ 157544 h 157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580" h="157543">
                    <a:moveTo>
                      <a:pt x="54959" y="157544"/>
                    </a:moveTo>
                    <a:cubicBezTo>
                      <a:pt x="32671" y="157544"/>
                      <a:pt x="24003" y="143351"/>
                      <a:pt x="24003" y="122492"/>
                    </a:cubicBezTo>
                    <a:lnTo>
                      <a:pt x="24003" y="46958"/>
                    </a:lnTo>
                    <a:lnTo>
                      <a:pt x="0" y="46958"/>
                    </a:lnTo>
                    <a:lnTo>
                      <a:pt x="0" y="36004"/>
                    </a:lnTo>
                    <a:lnTo>
                      <a:pt x="24003" y="36004"/>
                    </a:lnTo>
                    <a:lnTo>
                      <a:pt x="24003" y="2857"/>
                    </a:lnTo>
                    <a:lnTo>
                      <a:pt x="36004" y="0"/>
                    </a:lnTo>
                    <a:lnTo>
                      <a:pt x="36004" y="36004"/>
                    </a:lnTo>
                    <a:lnTo>
                      <a:pt x="72771" y="36004"/>
                    </a:lnTo>
                    <a:lnTo>
                      <a:pt x="72771" y="47053"/>
                    </a:lnTo>
                    <a:lnTo>
                      <a:pt x="35624" y="47053"/>
                    </a:lnTo>
                    <a:lnTo>
                      <a:pt x="35624" y="122111"/>
                    </a:lnTo>
                    <a:cubicBezTo>
                      <a:pt x="35624" y="136208"/>
                      <a:pt x="39433" y="146304"/>
                      <a:pt x="55531" y="146304"/>
                    </a:cubicBezTo>
                    <a:cubicBezTo>
                      <a:pt x="61932" y="146177"/>
                      <a:pt x="68313" y="145444"/>
                      <a:pt x="74581" y="144113"/>
                    </a:cubicBezTo>
                    <a:lnTo>
                      <a:pt x="74581" y="154686"/>
                    </a:lnTo>
                    <a:cubicBezTo>
                      <a:pt x="68066" y="156339"/>
                      <a:pt x="61389" y="157296"/>
                      <a:pt x="54674" y="157544"/>
                    </a:cubicBezTo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950D3B5-92AF-4F78-B84C-181FABD91F66}"/>
                  </a:ext>
                </a:extLst>
              </p:cNvPr>
              <p:cNvSpPr/>
              <p:nvPr/>
            </p:nvSpPr>
            <p:spPr>
              <a:xfrm>
                <a:off x="9743542" y="5145225"/>
                <a:ext cx="164973" cy="123234"/>
              </a:xfrm>
              <a:custGeom>
                <a:avLst/>
                <a:gdLst>
                  <a:gd name="connsiteX0" fmla="*/ 152591 w 164973"/>
                  <a:gd name="connsiteY0" fmla="*/ 123044 h 123234"/>
                  <a:gd name="connsiteX1" fmla="*/ 152591 w 164973"/>
                  <a:gd name="connsiteY1" fmla="*/ 44653 h 123234"/>
                  <a:gd name="connsiteX2" fmla="*/ 124016 w 164973"/>
                  <a:gd name="connsiteY2" fmla="*/ 11315 h 123234"/>
                  <a:gd name="connsiteX3" fmla="*/ 102679 w 164973"/>
                  <a:gd name="connsiteY3" fmla="*/ 19507 h 123234"/>
                  <a:gd name="connsiteX4" fmla="*/ 88583 w 164973"/>
                  <a:gd name="connsiteY4" fmla="*/ 55226 h 123234"/>
                  <a:gd name="connsiteX5" fmla="*/ 88583 w 164973"/>
                  <a:gd name="connsiteY5" fmla="*/ 123044 h 123234"/>
                  <a:gd name="connsiteX6" fmla="*/ 76295 w 164973"/>
                  <a:gd name="connsiteY6" fmla="*/ 123044 h 123234"/>
                  <a:gd name="connsiteX7" fmla="*/ 76295 w 164973"/>
                  <a:gd name="connsiteY7" fmla="*/ 44653 h 123234"/>
                  <a:gd name="connsiteX8" fmla="*/ 47720 w 164973"/>
                  <a:gd name="connsiteY8" fmla="*/ 11315 h 123234"/>
                  <a:gd name="connsiteX9" fmla="*/ 26384 w 164973"/>
                  <a:gd name="connsiteY9" fmla="*/ 19507 h 123234"/>
                  <a:gd name="connsiteX10" fmla="*/ 12002 w 164973"/>
                  <a:gd name="connsiteY10" fmla="*/ 63131 h 123234"/>
                  <a:gd name="connsiteX11" fmla="*/ 12002 w 164973"/>
                  <a:gd name="connsiteY11" fmla="*/ 123044 h 123234"/>
                  <a:gd name="connsiteX12" fmla="*/ 0 w 164973"/>
                  <a:gd name="connsiteY12" fmla="*/ 123044 h 123234"/>
                  <a:gd name="connsiteX13" fmla="*/ 0 w 164973"/>
                  <a:gd name="connsiteY13" fmla="*/ 3219 h 123234"/>
                  <a:gd name="connsiteX14" fmla="*/ 10573 w 164973"/>
                  <a:gd name="connsiteY14" fmla="*/ 3219 h 123234"/>
                  <a:gd name="connsiteX15" fmla="*/ 12002 w 164973"/>
                  <a:gd name="connsiteY15" fmla="*/ 23888 h 123234"/>
                  <a:gd name="connsiteX16" fmla="*/ 48482 w 164973"/>
                  <a:gd name="connsiteY16" fmla="*/ 171 h 123234"/>
                  <a:gd name="connsiteX17" fmla="*/ 86582 w 164973"/>
                  <a:gd name="connsiteY17" fmla="*/ 26079 h 123234"/>
                  <a:gd name="connsiteX18" fmla="*/ 125158 w 164973"/>
                  <a:gd name="connsiteY18" fmla="*/ 171 h 123234"/>
                  <a:gd name="connsiteX19" fmla="*/ 164973 w 164973"/>
                  <a:gd name="connsiteY19" fmla="*/ 44081 h 123234"/>
                  <a:gd name="connsiteX20" fmla="*/ 164973 w 164973"/>
                  <a:gd name="connsiteY20" fmla="*/ 123234 h 123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4973" h="123234">
                    <a:moveTo>
                      <a:pt x="152591" y="123044"/>
                    </a:moveTo>
                    <a:lnTo>
                      <a:pt x="152591" y="44653"/>
                    </a:lnTo>
                    <a:cubicBezTo>
                      <a:pt x="152591" y="23793"/>
                      <a:pt x="144875" y="11315"/>
                      <a:pt x="124016" y="11315"/>
                    </a:cubicBezTo>
                    <a:cubicBezTo>
                      <a:pt x="116100" y="11124"/>
                      <a:pt x="108433" y="14068"/>
                      <a:pt x="102679" y="19507"/>
                    </a:cubicBezTo>
                    <a:cubicBezTo>
                      <a:pt x="93174" y="28907"/>
                      <a:pt x="88059" y="41869"/>
                      <a:pt x="88583" y="55226"/>
                    </a:cubicBezTo>
                    <a:lnTo>
                      <a:pt x="88583" y="123044"/>
                    </a:lnTo>
                    <a:lnTo>
                      <a:pt x="76295" y="123044"/>
                    </a:lnTo>
                    <a:lnTo>
                      <a:pt x="76295" y="44653"/>
                    </a:lnTo>
                    <a:cubicBezTo>
                      <a:pt x="76295" y="23793"/>
                      <a:pt x="68390" y="11315"/>
                      <a:pt x="47720" y="11315"/>
                    </a:cubicBezTo>
                    <a:cubicBezTo>
                      <a:pt x="39796" y="11082"/>
                      <a:pt x="32118" y="14032"/>
                      <a:pt x="26384" y="19507"/>
                    </a:cubicBezTo>
                    <a:cubicBezTo>
                      <a:pt x="15859" y="31489"/>
                      <a:pt x="10668" y="47240"/>
                      <a:pt x="12002" y="63131"/>
                    </a:cubicBezTo>
                    <a:lnTo>
                      <a:pt x="12002" y="123044"/>
                    </a:lnTo>
                    <a:lnTo>
                      <a:pt x="0" y="123044"/>
                    </a:lnTo>
                    <a:lnTo>
                      <a:pt x="0" y="3219"/>
                    </a:lnTo>
                    <a:lnTo>
                      <a:pt x="10573" y="3219"/>
                    </a:lnTo>
                    <a:lnTo>
                      <a:pt x="12002" y="23888"/>
                    </a:lnTo>
                    <a:cubicBezTo>
                      <a:pt x="18288" y="9365"/>
                      <a:pt x="32661" y="20"/>
                      <a:pt x="48482" y="171"/>
                    </a:cubicBezTo>
                    <a:cubicBezTo>
                      <a:pt x="65770" y="-1513"/>
                      <a:pt x="81791" y="9384"/>
                      <a:pt x="86582" y="26079"/>
                    </a:cubicBezTo>
                    <a:cubicBezTo>
                      <a:pt x="92593" y="10094"/>
                      <a:pt x="108090" y="-312"/>
                      <a:pt x="125158" y="171"/>
                    </a:cubicBezTo>
                    <a:cubicBezTo>
                      <a:pt x="153257" y="171"/>
                      <a:pt x="164973" y="18364"/>
                      <a:pt x="164973" y="44081"/>
                    </a:cubicBezTo>
                    <a:lnTo>
                      <a:pt x="164973" y="12323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1F67823-4B65-45B9-AF25-5431DFB1A472}"/>
                  </a:ext>
                </a:extLst>
              </p:cNvPr>
              <p:cNvSpPr/>
              <p:nvPr/>
            </p:nvSpPr>
            <p:spPr>
              <a:xfrm>
                <a:off x="9950521" y="5148159"/>
                <a:ext cx="94773" cy="123065"/>
              </a:xfrm>
              <a:custGeom>
                <a:avLst/>
                <a:gdLst>
                  <a:gd name="connsiteX0" fmla="*/ 84487 w 94773"/>
                  <a:gd name="connsiteY0" fmla="*/ 119539 h 123065"/>
                  <a:gd name="connsiteX1" fmla="*/ 82677 w 94773"/>
                  <a:gd name="connsiteY1" fmla="*/ 98107 h 123065"/>
                  <a:gd name="connsiteX2" fmla="*/ 42196 w 94773"/>
                  <a:gd name="connsiteY2" fmla="*/ 123063 h 123065"/>
                  <a:gd name="connsiteX3" fmla="*/ 0 w 94773"/>
                  <a:gd name="connsiteY3" fmla="*/ 79153 h 123065"/>
                  <a:gd name="connsiteX4" fmla="*/ 0 w 94773"/>
                  <a:gd name="connsiteY4" fmla="*/ 0 h 123065"/>
                  <a:gd name="connsiteX5" fmla="*/ 12001 w 94773"/>
                  <a:gd name="connsiteY5" fmla="*/ 0 h 123065"/>
                  <a:gd name="connsiteX6" fmla="*/ 12001 w 94773"/>
                  <a:gd name="connsiteY6" fmla="*/ 78391 h 123065"/>
                  <a:gd name="connsiteX7" fmla="*/ 42958 w 94773"/>
                  <a:gd name="connsiteY7" fmla="*/ 111252 h 123065"/>
                  <a:gd name="connsiteX8" fmla="*/ 82772 w 94773"/>
                  <a:gd name="connsiteY8" fmla="*/ 59912 h 123065"/>
                  <a:gd name="connsiteX9" fmla="*/ 82772 w 94773"/>
                  <a:gd name="connsiteY9" fmla="*/ 0 h 123065"/>
                  <a:gd name="connsiteX10" fmla="*/ 94774 w 94773"/>
                  <a:gd name="connsiteY10" fmla="*/ 0 h 123065"/>
                  <a:gd name="connsiteX11" fmla="*/ 94774 w 94773"/>
                  <a:gd name="connsiteY11" fmla="*/ 119539 h 123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5">
                    <a:moveTo>
                      <a:pt x="84487" y="119539"/>
                    </a:moveTo>
                    <a:lnTo>
                      <a:pt x="82677" y="98107"/>
                    </a:lnTo>
                    <a:cubicBezTo>
                      <a:pt x="75114" y="113530"/>
                      <a:pt x="59369" y="123238"/>
                      <a:pt x="42196" y="123063"/>
                    </a:cubicBezTo>
                    <a:cubicBezTo>
                      <a:pt x="14573" y="123063"/>
                      <a:pt x="0" y="106013"/>
                      <a:pt x="0" y="79153"/>
                    </a:cubicBezTo>
                    <a:lnTo>
                      <a:pt x="0" y="0"/>
                    </a:lnTo>
                    <a:lnTo>
                      <a:pt x="12001" y="0"/>
                    </a:lnTo>
                    <a:lnTo>
                      <a:pt x="12001" y="78391"/>
                    </a:lnTo>
                    <a:cubicBezTo>
                      <a:pt x="12001" y="99250"/>
                      <a:pt x="21526" y="111252"/>
                      <a:pt x="42958" y="111252"/>
                    </a:cubicBezTo>
                    <a:cubicBezTo>
                      <a:pt x="72485" y="111252"/>
                      <a:pt x="82772" y="85820"/>
                      <a:pt x="82772" y="59912"/>
                    </a:cubicBezTo>
                    <a:lnTo>
                      <a:pt x="82772" y="0"/>
                    </a:lnTo>
                    <a:lnTo>
                      <a:pt x="94774" y="0"/>
                    </a:lnTo>
                    <a:lnTo>
                      <a:pt x="94774" y="119539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2A63385C-E8C0-455C-93E1-61F09027DD35}"/>
                  </a:ext>
                </a:extLst>
              </p:cNvPr>
              <p:cNvSpPr/>
              <p:nvPr/>
            </p:nvSpPr>
            <p:spPr>
              <a:xfrm>
                <a:off x="10093300" y="5145301"/>
                <a:ext cx="94773" cy="123063"/>
              </a:xfrm>
              <a:custGeom>
                <a:avLst/>
                <a:gdLst>
                  <a:gd name="connsiteX0" fmla="*/ 82772 w 94773"/>
                  <a:gd name="connsiteY0" fmla="*/ 122968 h 123063"/>
                  <a:gd name="connsiteX1" fmla="*/ 82772 w 94773"/>
                  <a:gd name="connsiteY1" fmla="*/ 44578 h 123063"/>
                  <a:gd name="connsiteX2" fmla="*/ 51816 w 94773"/>
                  <a:gd name="connsiteY2" fmla="*/ 11716 h 123063"/>
                  <a:gd name="connsiteX3" fmla="*/ 12002 w 94773"/>
                  <a:gd name="connsiteY3" fmla="*/ 63056 h 123063"/>
                  <a:gd name="connsiteX4" fmla="*/ 12002 w 94773"/>
                  <a:gd name="connsiteY4" fmla="*/ 122968 h 123063"/>
                  <a:gd name="connsiteX5" fmla="*/ 0 w 94773"/>
                  <a:gd name="connsiteY5" fmla="*/ 122968 h 123063"/>
                  <a:gd name="connsiteX6" fmla="*/ 0 w 94773"/>
                  <a:gd name="connsiteY6" fmla="*/ 3144 h 123063"/>
                  <a:gd name="connsiteX7" fmla="*/ 10573 w 94773"/>
                  <a:gd name="connsiteY7" fmla="*/ 3144 h 123063"/>
                  <a:gd name="connsiteX8" fmla="*/ 12002 w 94773"/>
                  <a:gd name="connsiteY8" fmla="*/ 24956 h 123063"/>
                  <a:gd name="connsiteX9" fmla="*/ 52578 w 94773"/>
                  <a:gd name="connsiteY9" fmla="*/ 1 h 123063"/>
                  <a:gd name="connsiteX10" fmla="*/ 94774 w 94773"/>
                  <a:gd name="connsiteY10" fmla="*/ 43911 h 123063"/>
                  <a:gd name="connsiteX11" fmla="*/ 94774 w 94773"/>
                  <a:gd name="connsiteY11" fmla="*/ 123064 h 123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773" h="123063">
                    <a:moveTo>
                      <a:pt x="82772" y="122968"/>
                    </a:moveTo>
                    <a:lnTo>
                      <a:pt x="82772" y="44578"/>
                    </a:lnTo>
                    <a:cubicBezTo>
                      <a:pt x="82772" y="23718"/>
                      <a:pt x="73247" y="11716"/>
                      <a:pt x="51816" y="11716"/>
                    </a:cubicBezTo>
                    <a:cubicBezTo>
                      <a:pt x="22288" y="11716"/>
                      <a:pt x="12002" y="37148"/>
                      <a:pt x="12002" y="63056"/>
                    </a:cubicBezTo>
                    <a:lnTo>
                      <a:pt x="12002" y="122968"/>
                    </a:lnTo>
                    <a:lnTo>
                      <a:pt x="0" y="122968"/>
                    </a:lnTo>
                    <a:lnTo>
                      <a:pt x="0" y="3144"/>
                    </a:lnTo>
                    <a:lnTo>
                      <a:pt x="10573" y="3144"/>
                    </a:lnTo>
                    <a:lnTo>
                      <a:pt x="12002" y="24956"/>
                    </a:lnTo>
                    <a:cubicBezTo>
                      <a:pt x="19660" y="9583"/>
                      <a:pt x="35404" y="-96"/>
                      <a:pt x="52578" y="1"/>
                    </a:cubicBezTo>
                    <a:cubicBezTo>
                      <a:pt x="80200" y="1"/>
                      <a:pt x="94774" y="17050"/>
                      <a:pt x="94774" y="43911"/>
                    </a:cubicBezTo>
                    <a:lnTo>
                      <a:pt x="94774" y="12306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8D99CDD-FF7D-470C-8368-8DE43E6C58D9}"/>
                  </a:ext>
                </a:extLst>
              </p:cNvPr>
              <p:cNvSpPr/>
              <p:nvPr/>
            </p:nvSpPr>
            <p:spPr>
              <a:xfrm>
                <a:off x="10221967" y="5095200"/>
                <a:ext cx="103838" cy="176240"/>
              </a:xfrm>
              <a:custGeom>
                <a:avLst/>
                <a:gdLst>
                  <a:gd name="connsiteX0" fmla="*/ 76502 w 103838"/>
                  <a:gd name="connsiteY0" fmla="*/ 71247 h 176240"/>
                  <a:gd name="connsiteX1" fmla="*/ 51356 w 103838"/>
                  <a:gd name="connsiteY1" fmla="*/ 61722 h 176240"/>
                  <a:gd name="connsiteX2" fmla="*/ 25734 w 103838"/>
                  <a:gd name="connsiteY2" fmla="*/ 72295 h 176240"/>
                  <a:gd name="connsiteX3" fmla="*/ 12304 w 103838"/>
                  <a:gd name="connsiteY3" fmla="*/ 113062 h 176240"/>
                  <a:gd name="connsiteX4" fmla="*/ 28115 w 103838"/>
                  <a:gd name="connsiteY4" fmla="*/ 156020 h 176240"/>
                  <a:gd name="connsiteX5" fmla="*/ 51928 w 103838"/>
                  <a:gd name="connsiteY5" fmla="*/ 164402 h 176240"/>
                  <a:gd name="connsiteX6" fmla="*/ 76407 w 103838"/>
                  <a:gd name="connsiteY6" fmla="*/ 154877 h 176240"/>
                  <a:gd name="connsiteX7" fmla="*/ 91742 w 103838"/>
                  <a:gd name="connsiteY7" fmla="*/ 113157 h 176240"/>
                  <a:gd name="connsiteX8" fmla="*/ 76597 w 103838"/>
                  <a:gd name="connsiteY8" fmla="*/ 71152 h 176240"/>
                  <a:gd name="connsiteX9" fmla="*/ 92885 w 103838"/>
                  <a:gd name="connsiteY9" fmla="*/ 173069 h 176240"/>
                  <a:gd name="connsiteX10" fmla="*/ 91456 w 103838"/>
                  <a:gd name="connsiteY10" fmla="*/ 152019 h 176240"/>
                  <a:gd name="connsiteX11" fmla="*/ 51642 w 103838"/>
                  <a:gd name="connsiteY11" fmla="*/ 176213 h 176240"/>
                  <a:gd name="connsiteX12" fmla="*/ 19733 w 103838"/>
                  <a:gd name="connsiteY12" fmla="*/ 164973 h 176240"/>
                  <a:gd name="connsiteX13" fmla="*/ 112 w 103838"/>
                  <a:gd name="connsiteY13" fmla="*/ 113443 h 176240"/>
                  <a:gd name="connsiteX14" fmla="*/ 19162 w 103838"/>
                  <a:gd name="connsiteY14" fmla="*/ 62579 h 176240"/>
                  <a:gd name="connsiteX15" fmla="*/ 86427 w 103838"/>
                  <a:gd name="connsiteY15" fmla="*/ 66047 h 176240"/>
                  <a:gd name="connsiteX16" fmla="*/ 91837 w 103838"/>
                  <a:gd name="connsiteY16" fmla="*/ 73343 h 176240"/>
                  <a:gd name="connsiteX17" fmla="*/ 91837 w 103838"/>
                  <a:gd name="connsiteY17" fmla="*/ 0 h 176240"/>
                  <a:gd name="connsiteX18" fmla="*/ 103839 w 103838"/>
                  <a:gd name="connsiteY18" fmla="*/ 0 h 176240"/>
                  <a:gd name="connsiteX19" fmla="*/ 103839 w 103838"/>
                  <a:gd name="connsiteY19" fmla="*/ 173069 h 17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3838" h="176240">
                    <a:moveTo>
                      <a:pt x="76502" y="71247"/>
                    </a:moveTo>
                    <a:cubicBezTo>
                      <a:pt x="69730" y="64837"/>
                      <a:pt x="60672" y="61407"/>
                      <a:pt x="51356" y="61722"/>
                    </a:cubicBezTo>
                    <a:cubicBezTo>
                      <a:pt x="41698" y="61423"/>
                      <a:pt x="32373" y="65271"/>
                      <a:pt x="25734" y="72295"/>
                    </a:cubicBezTo>
                    <a:cubicBezTo>
                      <a:pt x="16399" y="83772"/>
                      <a:pt x="11618" y="98284"/>
                      <a:pt x="12304" y="113062"/>
                    </a:cubicBezTo>
                    <a:cubicBezTo>
                      <a:pt x="11361" y="128959"/>
                      <a:pt x="17085" y="144529"/>
                      <a:pt x="28115" y="156020"/>
                    </a:cubicBezTo>
                    <a:cubicBezTo>
                      <a:pt x="34716" y="161715"/>
                      <a:pt x="43222" y="164708"/>
                      <a:pt x="51928" y="164402"/>
                    </a:cubicBezTo>
                    <a:cubicBezTo>
                      <a:pt x="61033" y="164644"/>
                      <a:pt x="69854" y="161212"/>
                      <a:pt x="76407" y="154877"/>
                    </a:cubicBezTo>
                    <a:cubicBezTo>
                      <a:pt x="87046" y="143674"/>
                      <a:pt x="92590" y="128582"/>
                      <a:pt x="91742" y="113157"/>
                    </a:cubicBezTo>
                    <a:cubicBezTo>
                      <a:pt x="93037" y="97620"/>
                      <a:pt x="87513" y="82286"/>
                      <a:pt x="76597" y="71152"/>
                    </a:cubicBezTo>
                    <a:moveTo>
                      <a:pt x="92885" y="173069"/>
                    </a:moveTo>
                    <a:lnTo>
                      <a:pt x="91456" y="152019"/>
                    </a:lnTo>
                    <a:cubicBezTo>
                      <a:pt x="83855" y="166991"/>
                      <a:pt x="68434" y="176366"/>
                      <a:pt x="51642" y="176213"/>
                    </a:cubicBezTo>
                    <a:cubicBezTo>
                      <a:pt x="39974" y="176616"/>
                      <a:pt x="28572" y="172603"/>
                      <a:pt x="19733" y="164973"/>
                    </a:cubicBezTo>
                    <a:cubicBezTo>
                      <a:pt x="6150" y="151377"/>
                      <a:pt x="-993" y="132631"/>
                      <a:pt x="112" y="113443"/>
                    </a:cubicBezTo>
                    <a:cubicBezTo>
                      <a:pt x="-679" y="94610"/>
                      <a:pt x="6198" y="76262"/>
                      <a:pt x="19162" y="62579"/>
                    </a:cubicBezTo>
                    <a:cubicBezTo>
                      <a:pt x="38697" y="44963"/>
                      <a:pt x="68806" y="46515"/>
                      <a:pt x="86427" y="66047"/>
                    </a:cubicBezTo>
                    <a:cubicBezTo>
                      <a:pt x="88456" y="68301"/>
                      <a:pt x="90266" y="70744"/>
                      <a:pt x="91837" y="73343"/>
                    </a:cubicBezTo>
                    <a:lnTo>
                      <a:pt x="91837" y="0"/>
                    </a:lnTo>
                    <a:lnTo>
                      <a:pt x="103839" y="0"/>
                    </a:lnTo>
                    <a:lnTo>
                      <a:pt x="103839" y="173069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1" name="Rectangle 186">
            <a:extLst>
              <a:ext uri="{FF2B5EF4-FFF2-40B4-BE49-F238E27FC236}">
                <a16:creationId xmlns:a16="http://schemas.microsoft.com/office/drawing/2014/main" id="{9E3EA20D-DCD8-4713-9CA5-68B2B85BB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7143" y="4783608"/>
            <a:ext cx="319478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. Dr. Lorenz Graf-Vlachy</a:t>
            </a:r>
          </a:p>
          <a:p>
            <a:pPr defTabSz="358793">
              <a:defRPr/>
            </a:pPr>
            <a:endParaRPr lang="en-US" sz="1000" dirty="0">
              <a:latin typeface="+mn-lt"/>
              <a:cs typeface="Arial" pitchFamily="34" charset="0"/>
            </a:endParaRP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Professorship for Strategic Management and Leadership</a:t>
            </a:r>
          </a:p>
          <a:p>
            <a:pPr defTabSz="358793">
              <a:defRPr/>
            </a:pPr>
            <a:r>
              <a:rPr lang="en-US" sz="1000" dirty="0">
                <a:latin typeface="+mn-lt"/>
                <a:cs typeface="Arial" pitchFamily="34" charset="0"/>
              </a:rPr>
              <a:t>TU Dortmund University</a:t>
            </a:r>
            <a:endParaRPr lang="en-US" sz="1000" dirty="0">
              <a:latin typeface="+mn-lt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5D38131-F8BF-4574-9C62-45C451726A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459724" y="4830823"/>
            <a:ext cx="520607" cy="520607"/>
            <a:chOff x="3459724" y="4830823"/>
            <a:chExt cx="520607" cy="520607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2EB2B76-4505-451B-B28B-9F1FC14A092D}"/>
                </a:ext>
              </a:extLst>
            </p:cNvPr>
            <p:cNvSpPr/>
            <p:nvPr/>
          </p:nvSpPr>
          <p:spPr>
            <a:xfrm>
              <a:off x="3489788" y="4860887"/>
              <a:ext cx="460478" cy="460478"/>
            </a:xfrm>
            <a:custGeom>
              <a:avLst/>
              <a:gdLst>
                <a:gd name="connsiteX0" fmla="*/ 230239 w 460478"/>
                <a:gd name="connsiteY0" fmla="*/ 0 h 460478"/>
                <a:gd name="connsiteX1" fmla="*/ 0 w 460478"/>
                <a:gd name="connsiteY1" fmla="*/ 230237 h 460478"/>
                <a:gd name="connsiteX2" fmla="*/ 230239 w 460478"/>
                <a:gd name="connsiteY2" fmla="*/ 460478 h 460478"/>
                <a:gd name="connsiteX3" fmla="*/ 460478 w 460478"/>
                <a:gd name="connsiteY3" fmla="*/ 230237 h 460478"/>
                <a:gd name="connsiteX4" fmla="*/ 230239 w 460478"/>
                <a:gd name="connsiteY4" fmla="*/ 0 h 460478"/>
                <a:gd name="connsiteX5" fmla="*/ 373939 w 460478"/>
                <a:gd name="connsiteY5" fmla="*/ 106513 h 460478"/>
                <a:gd name="connsiteX6" fmla="*/ 373817 w 460478"/>
                <a:gd name="connsiteY6" fmla="*/ 106740 h 460478"/>
                <a:gd name="connsiteX7" fmla="*/ 373259 w 460478"/>
                <a:gd name="connsiteY7" fmla="*/ 107779 h 460478"/>
                <a:gd name="connsiteX8" fmla="*/ 282683 w 460478"/>
                <a:gd name="connsiteY8" fmla="*/ 276519 h 460478"/>
                <a:gd name="connsiteX9" fmla="*/ 276559 w 460478"/>
                <a:gd name="connsiteY9" fmla="*/ 282641 h 460478"/>
                <a:gd name="connsiteX10" fmla="*/ 107281 w 460478"/>
                <a:gd name="connsiteY10" fmla="*/ 373551 h 460478"/>
                <a:gd name="connsiteX11" fmla="*/ 107099 w 460478"/>
                <a:gd name="connsiteY11" fmla="*/ 373649 h 460478"/>
                <a:gd name="connsiteX12" fmla="*/ 107035 w 460478"/>
                <a:gd name="connsiteY12" fmla="*/ 373683 h 460478"/>
                <a:gd name="connsiteX13" fmla="*/ 107033 w 460478"/>
                <a:gd name="connsiteY13" fmla="*/ 373679 h 460478"/>
                <a:gd name="connsiteX14" fmla="*/ 93058 w 460478"/>
                <a:gd name="connsiteY14" fmla="*/ 373547 h 460478"/>
                <a:gd name="connsiteX15" fmla="*/ 89539 w 460478"/>
                <a:gd name="connsiteY15" fmla="*/ 370935 h 460478"/>
                <a:gd name="connsiteX16" fmla="*/ 86933 w 460478"/>
                <a:gd name="connsiteY16" fmla="*/ 353190 h 460478"/>
                <a:gd name="connsiteX17" fmla="*/ 177874 w 460478"/>
                <a:gd name="connsiteY17" fmla="*/ 184033 h 460478"/>
                <a:gd name="connsiteX18" fmla="*/ 183996 w 460478"/>
                <a:gd name="connsiteY18" fmla="*/ 177910 h 460478"/>
                <a:gd name="connsiteX19" fmla="*/ 353191 w 460478"/>
                <a:gd name="connsiteY19" fmla="*/ 86933 h 460478"/>
                <a:gd name="connsiteX20" fmla="*/ 373550 w 460478"/>
                <a:gd name="connsiteY20" fmla="*/ 93055 h 460478"/>
                <a:gd name="connsiteX21" fmla="*/ 373924 w 460478"/>
                <a:gd name="connsiteY21" fmla="*/ 106507 h 46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0478" h="460478">
                  <a:moveTo>
                    <a:pt x="230239" y="0"/>
                  </a:moveTo>
                  <a:cubicBezTo>
                    <a:pt x="103286" y="0"/>
                    <a:pt x="0" y="103285"/>
                    <a:pt x="0" y="230237"/>
                  </a:cubicBezTo>
                  <a:cubicBezTo>
                    <a:pt x="0" y="357192"/>
                    <a:pt x="103286" y="460478"/>
                    <a:pt x="230239" y="460478"/>
                  </a:cubicBezTo>
                  <a:cubicBezTo>
                    <a:pt x="357192" y="460478"/>
                    <a:pt x="460478" y="357192"/>
                    <a:pt x="460478" y="230237"/>
                  </a:cubicBezTo>
                  <a:cubicBezTo>
                    <a:pt x="460478" y="103285"/>
                    <a:pt x="357192" y="0"/>
                    <a:pt x="230239" y="0"/>
                  </a:cubicBezTo>
                  <a:close/>
                  <a:moveTo>
                    <a:pt x="373939" y="106513"/>
                  </a:moveTo>
                  <a:lnTo>
                    <a:pt x="373817" y="106740"/>
                  </a:lnTo>
                  <a:cubicBezTo>
                    <a:pt x="373645" y="107094"/>
                    <a:pt x="373457" y="107439"/>
                    <a:pt x="373259" y="107779"/>
                  </a:cubicBezTo>
                  <a:lnTo>
                    <a:pt x="282683" y="276519"/>
                  </a:lnTo>
                  <a:cubicBezTo>
                    <a:pt x="281286" y="279115"/>
                    <a:pt x="279158" y="281245"/>
                    <a:pt x="276559" y="282641"/>
                  </a:cubicBezTo>
                  <a:lnTo>
                    <a:pt x="107281" y="373551"/>
                  </a:lnTo>
                  <a:cubicBezTo>
                    <a:pt x="107221" y="373584"/>
                    <a:pt x="107161" y="373617"/>
                    <a:pt x="107099" y="373649"/>
                  </a:cubicBezTo>
                  <a:lnTo>
                    <a:pt x="107035" y="373683"/>
                  </a:lnTo>
                  <a:lnTo>
                    <a:pt x="107033" y="373679"/>
                  </a:lnTo>
                  <a:cubicBezTo>
                    <a:pt x="102785" y="375852"/>
                    <a:pt x="97577" y="375979"/>
                    <a:pt x="93058" y="373547"/>
                  </a:cubicBezTo>
                  <a:cubicBezTo>
                    <a:pt x="91730" y="372835"/>
                    <a:pt x="90552" y="371950"/>
                    <a:pt x="89539" y="370935"/>
                  </a:cubicBezTo>
                  <a:cubicBezTo>
                    <a:pt x="84969" y="366366"/>
                    <a:pt x="83716" y="359174"/>
                    <a:pt x="86933" y="353190"/>
                  </a:cubicBezTo>
                  <a:lnTo>
                    <a:pt x="177874" y="184033"/>
                  </a:lnTo>
                  <a:cubicBezTo>
                    <a:pt x="179269" y="181437"/>
                    <a:pt x="181398" y="179307"/>
                    <a:pt x="183996" y="177910"/>
                  </a:cubicBezTo>
                  <a:lnTo>
                    <a:pt x="353191" y="86933"/>
                  </a:lnTo>
                  <a:cubicBezTo>
                    <a:pt x="360504" y="83001"/>
                    <a:pt x="369618" y="85741"/>
                    <a:pt x="373550" y="93055"/>
                  </a:cubicBezTo>
                  <a:cubicBezTo>
                    <a:pt x="375881" y="97393"/>
                    <a:pt x="375850" y="102359"/>
                    <a:pt x="373924" y="106507"/>
                  </a:cubicBezTo>
                  <a:close/>
                </a:path>
              </a:pathLst>
            </a:custGeom>
            <a:noFill/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ED5684D-D340-4A89-9AB8-4ADCDE7A1474}"/>
                </a:ext>
              </a:extLst>
            </p:cNvPr>
            <p:cNvSpPr/>
            <p:nvPr/>
          </p:nvSpPr>
          <p:spPr>
            <a:xfrm>
              <a:off x="3626797" y="5076939"/>
              <a:ext cx="107482" cy="107491"/>
            </a:xfrm>
            <a:custGeom>
              <a:avLst/>
              <a:gdLst>
                <a:gd name="connsiteX0" fmla="*/ 57788 w 107482"/>
                <a:gd name="connsiteY0" fmla="*/ 0 h 107491"/>
                <a:gd name="connsiteX1" fmla="*/ 0 w 107482"/>
                <a:gd name="connsiteY1" fmla="*/ 107491 h 107491"/>
                <a:gd name="connsiteX2" fmla="*/ 107482 w 107482"/>
                <a:gd name="connsiteY2" fmla="*/ 49696 h 10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482" h="107491">
                  <a:moveTo>
                    <a:pt x="57788" y="0"/>
                  </a:moveTo>
                  <a:lnTo>
                    <a:pt x="0" y="107491"/>
                  </a:lnTo>
                  <a:lnTo>
                    <a:pt x="107482" y="49696"/>
                  </a:lnTo>
                  <a:close/>
                </a:path>
              </a:pathLst>
            </a:custGeom>
            <a:noFill/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11CB24B-04B6-4F81-A051-9B659B30CD98}"/>
                </a:ext>
              </a:extLst>
            </p:cNvPr>
            <p:cNvSpPr/>
            <p:nvPr/>
          </p:nvSpPr>
          <p:spPr>
            <a:xfrm>
              <a:off x="3459724" y="4830823"/>
              <a:ext cx="520607" cy="520607"/>
            </a:xfrm>
            <a:custGeom>
              <a:avLst/>
              <a:gdLst>
                <a:gd name="connsiteX0" fmla="*/ 260304 w 520607"/>
                <a:gd name="connsiteY0" fmla="*/ 0 h 520607"/>
                <a:gd name="connsiteX1" fmla="*/ 0 w 520607"/>
                <a:gd name="connsiteY1" fmla="*/ 260301 h 520607"/>
                <a:gd name="connsiteX2" fmla="*/ 260304 w 520607"/>
                <a:gd name="connsiteY2" fmla="*/ 520607 h 520607"/>
                <a:gd name="connsiteX3" fmla="*/ 520607 w 520607"/>
                <a:gd name="connsiteY3" fmla="*/ 260301 h 520607"/>
                <a:gd name="connsiteX4" fmla="*/ 260304 w 520607"/>
                <a:gd name="connsiteY4" fmla="*/ 0 h 520607"/>
                <a:gd name="connsiteX5" fmla="*/ 260304 w 520607"/>
                <a:gd name="connsiteY5" fmla="*/ 490543 h 520607"/>
                <a:gd name="connsiteX6" fmla="*/ 30065 w 520607"/>
                <a:gd name="connsiteY6" fmla="*/ 260301 h 520607"/>
                <a:gd name="connsiteX7" fmla="*/ 260304 w 520607"/>
                <a:gd name="connsiteY7" fmla="*/ 30065 h 520607"/>
                <a:gd name="connsiteX8" fmla="*/ 490543 w 520607"/>
                <a:gd name="connsiteY8" fmla="*/ 260301 h 520607"/>
                <a:gd name="connsiteX9" fmla="*/ 260304 w 520607"/>
                <a:gd name="connsiteY9" fmla="*/ 490543 h 520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0607" h="520607">
                  <a:moveTo>
                    <a:pt x="260304" y="0"/>
                  </a:moveTo>
                  <a:cubicBezTo>
                    <a:pt x="116772" y="0"/>
                    <a:pt x="0" y="116771"/>
                    <a:pt x="0" y="260301"/>
                  </a:cubicBezTo>
                  <a:cubicBezTo>
                    <a:pt x="0" y="403834"/>
                    <a:pt x="116772" y="520607"/>
                    <a:pt x="260304" y="520607"/>
                  </a:cubicBezTo>
                  <a:cubicBezTo>
                    <a:pt x="403835" y="520607"/>
                    <a:pt x="520607" y="403834"/>
                    <a:pt x="520607" y="260301"/>
                  </a:cubicBezTo>
                  <a:cubicBezTo>
                    <a:pt x="520607" y="116771"/>
                    <a:pt x="403836" y="0"/>
                    <a:pt x="260304" y="0"/>
                  </a:cubicBezTo>
                  <a:close/>
                  <a:moveTo>
                    <a:pt x="260304" y="490543"/>
                  </a:moveTo>
                  <a:cubicBezTo>
                    <a:pt x="133351" y="490543"/>
                    <a:pt x="30065" y="387257"/>
                    <a:pt x="30065" y="260301"/>
                  </a:cubicBezTo>
                  <a:cubicBezTo>
                    <a:pt x="30065" y="133349"/>
                    <a:pt x="133351" y="30065"/>
                    <a:pt x="260304" y="30065"/>
                  </a:cubicBezTo>
                  <a:cubicBezTo>
                    <a:pt x="387257" y="30065"/>
                    <a:pt x="490543" y="133349"/>
                    <a:pt x="490543" y="260301"/>
                  </a:cubicBezTo>
                  <a:cubicBezTo>
                    <a:pt x="490543" y="387257"/>
                    <a:pt x="387257" y="490543"/>
                    <a:pt x="260304" y="490543"/>
                  </a:cubicBezTo>
                  <a:close/>
                </a:path>
              </a:pathLst>
            </a:custGeom>
            <a:solidFill>
              <a:srgbClr val="84B819"/>
            </a:solidFill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9CC15F6-65DC-4379-90AC-650C2D93315F}"/>
                </a:ext>
              </a:extLst>
            </p:cNvPr>
            <p:cNvSpPr/>
            <p:nvPr/>
          </p:nvSpPr>
          <p:spPr>
            <a:xfrm>
              <a:off x="3705853" y="4997896"/>
              <a:ext cx="107483" cy="107491"/>
            </a:xfrm>
            <a:custGeom>
              <a:avLst/>
              <a:gdLst>
                <a:gd name="connsiteX0" fmla="*/ 0 w 107483"/>
                <a:gd name="connsiteY0" fmla="*/ 57794 h 107491"/>
                <a:gd name="connsiteX1" fmla="*/ 49698 w 107483"/>
                <a:gd name="connsiteY1" fmla="*/ 107491 h 107491"/>
                <a:gd name="connsiteX2" fmla="*/ 107484 w 107483"/>
                <a:gd name="connsiteY2" fmla="*/ 0 h 10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483" h="107491">
                  <a:moveTo>
                    <a:pt x="0" y="57794"/>
                  </a:moveTo>
                  <a:lnTo>
                    <a:pt x="49698" y="107491"/>
                  </a:lnTo>
                  <a:lnTo>
                    <a:pt x="107484" y="0"/>
                  </a:lnTo>
                  <a:close/>
                </a:path>
              </a:pathLst>
            </a:custGeom>
            <a:solidFill>
              <a:srgbClr val="C3C3C3"/>
            </a:solidFill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68969AA-AF51-40CF-8805-4CE11C95B85E}"/>
                </a:ext>
              </a:extLst>
            </p:cNvPr>
            <p:cNvSpPr/>
            <p:nvPr/>
          </p:nvSpPr>
          <p:spPr>
            <a:xfrm>
              <a:off x="3574928" y="4946025"/>
              <a:ext cx="290196" cy="290202"/>
            </a:xfrm>
            <a:custGeom>
              <a:avLst/>
              <a:gdLst>
                <a:gd name="connsiteX0" fmla="*/ 288411 w 290196"/>
                <a:gd name="connsiteY0" fmla="*/ 7917 h 290202"/>
                <a:gd name="connsiteX1" fmla="*/ 268052 w 290196"/>
                <a:gd name="connsiteY1" fmla="*/ 1795 h 290202"/>
                <a:gd name="connsiteX2" fmla="*/ 98857 w 290196"/>
                <a:gd name="connsiteY2" fmla="*/ 92772 h 290202"/>
                <a:gd name="connsiteX3" fmla="*/ 92735 w 290196"/>
                <a:gd name="connsiteY3" fmla="*/ 98896 h 290202"/>
                <a:gd name="connsiteX4" fmla="*/ 1794 w 290196"/>
                <a:gd name="connsiteY4" fmla="*/ 268053 h 290202"/>
                <a:gd name="connsiteX5" fmla="*/ 4400 w 290196"/>
                <a:gd name="connsiteY5" fmla="*/ 285799 h 290202"/>
                <a:gd name="connsiteX6" fmla="*/ 7919 w 290196"/>
                <a:gd name="connsiteY6" fmla="*/ 288411 h 290202"/>
                <a:gd name="connsiteX7" fmla="*/ 21894 w 290196"/>
                <a:gd name="connsiteY7" fmla="*/ 288542 h 290202"/>
                <a:gd name="connsiteX8" fmla="*/ 21896 w 290196"/>
                <a:gd name="connsiteY8" fmla="*/ 288546 h 290202"/>
                <a:gd name="connsiteX9" fmla="*/ 21960 w 290196"/>
                <a:gd name="connsiteY9" fmla="*/ 288512 h 290202"/>
                <a:gd name="connsiteX10" fmla="*/ 22142 w 290196"/>
                <a:gd name="connsiteY10" fmla="*/ 288414 h 290202"/>
                <a:gd name="connsiteX11" fmla="*/ 191420 w 290196"/>
                <a:gd name="connsiteY11" fmla="*/ 197504 h 290202"/>
                <a:gd name="connsiteX12" fmla="*/ 197544 w 290196"/>
                <a:gd name="connsiteY12" fmla="*/ 191382 h 290202"/>
                <a:gd name="connsiteX13" fmla="*/ 288120 w 290196"/>
                <a:gd name="connsiteY13" fmla="*/ 22643 h 290202"/>
                <a:gd name="connsiteX14" fmla="*/ 288678 w 290196"/>
                <a:gd name="connsiteY14" fmla="*/ 21603 h 290202"/>
                <a:gd name="connsiteX15" fmla="*/ 288800 w 290196"/>
                <a:gd name="connsiteY15" fmla="*/ 21376 h 290202"/>
                <a:gd name="connsiteX16" fmla="*/ 288785 w 290196"/>
                <a:gd name="connsiteY16" fmla="*/ 21371 h 290202"/>
                <a:gd name="connsiteX17" fmla="*/ 288411 w 290196"/>
                <a:gd name="connsiteY17" fmla="*/ 7917 h 290202"/>
                <a:gd name="connsiteX18" fmla="*/ 51868 w 290196"/>
                <a:gd name="connsiteY18" fmla="*/ 238406 h 290202"/>
                <a:gd name="connsiteX19" fmla="*/ 109656 w 290196"/>
                <a:gd name="connsiteY19" fmla="*/ 130914 h 290202"/>
                <a:gd name="connsiteX20" fmla="*/ 159351 w 290196"/>
                <a:gd name="connsiteY20" fmla="*/ 180610 h 290202"/>
                <a:gd name="connsiteX21" fmla="*/ 180623 w 290196"/>
                <a:gd name="connsiteY21" fmla="*/ 159362 h 290202"/>
                <a:gd name="connsiteX22" fmla="*/ 130926 w 290196"/>
                <a:gd name="connsiteY22" fmla="*/ 109665 h 290202"/>
                <a:gd name="connsiteX23" fmla="*/ 238408 w 290196"/>
                <a:gd name="connsiteY23" fmla="*/ 51871 h 29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0196" h="290202">
                  <a:moveTo>
                    <a:pt x="288411" y="7917"/>
                  </a:moveTo>
                  <a:cubicBezTo>
                    <a:pt x="284479" y="603"/>
                    <a:pt x="275365" y="-2136"/>
                    <a:pt x="268052" y="1795"/>
                  </a:cubicBezTo>
                  <a:lnTo>
                    <a:pt x="98857" y="92772"/>
                  </a:lnTo>
                  <a:cubicBezTo>
                    <a:pt x="96260" y="94169"/>
                    <a:pt x="94130" y="96297"/>
                    <a:pt x="92735" y="98896"/>
                  </a:cubicBezTo>
                  <a:lnTo>
                    <a:pt x="1794" y="268053"/>
                  </a:lnTo>
                  <a:cubicBezTo>
                    <a:pt x="-1423" y="274037"/>
                    <a:pt x="-170" y="281229"/>
                    <a:pt x="4400" y="285799"/>
                  </a:cubicBezTo>
                  <a:cubicBezTo>
                    <a:pt x="5413" y="286813"/>
                    <a:pt x="6590" y="287698"/>
                    <a:pt x="7919" y="288411"/>
                  </a:cubicBezTo>
                  <a:cubicBezTo>
                    <a:pt x="12438" y="290841"/>
                    <a:pt x="17647" y="290716"/>
                    <a:pt x="21894" y="288542"/>
                  </a:cubicBezTo>
                  <a:lnTo>
                    <a:pt x="21896" y="288546"/>
                  </a:lnTo>
                  <a:lnTo>
                    <a:pt x="21960" y="288512"/>
                  </a:lnTo>
                  <a:cubicBezTo>
                    <a:pt x="22022" y="288481"/>
                    <a:pt x="22082" y="288447"/>
                    <a:pt x="22142" y="288414"/>
                  </a:cubicBezTo>
                  <a:lnTo>
                    <a:pt x="191420" y="197504"/>
                  </a:lnTo>
                  <a:cubicBezTo>
                    <a:pt x="194018" y="196108"/>
                    <a:pt x="196146" y="193980"/>
                    <a:pt x="197544" y="191382"/>
                  </a:cubicBezTo>
                  <a:lnTo>
                    <a:pt x="288120" y="22643"/>
                  </a:lnTo>
                  <a:cubicBezTo>
                    <a:pt x="288318" y="22302"/>
                    <a:pt x="288507" y="21957"/>
                    <a:pt x="288678" y="21603"/>
                  </a:cubicBezTo>
                  <a:lnTo>
                    <a:pt x="288800" y="21376"/>
                  </a:lnTo>
                  <a:lnTo>
                    <a:pt x="288785" y="21371"/>
                  </a:lnTo>
                  <a:cubicBezTo>
                    <a:pt x="290711" y="17221"/>
                    <a:pt x="290742" y="12255"/>
                    <a:pt x="288411" y="7917"/>
                  </a:cubicBezTo>
                  <a:close/>
                  <a:moveTo>
                    <a:pt x="51868" y="238406"/>
                  </a:moveTo>
                  <a:lnTo>
                    <a:pt x="109656" y="130914"/>
                  </a:lnTo>
                  <a:lnTo>
                    <a:pt x="159351" y="180610"/>
                  </a:lnTo>
                  <a:close/>
                  <a:moveTo>
                    <a:pt x="180623" y="159362"/>
                  </a:moveTo>
                  <a:lnTo>
                    <a:pt x="130926" y="109665"/>
                  </a:lnTo>
                  <a:lnTo>
                    <a:pt x="238408" y="51871"/>
                  </a:lnTo>
                  <a:close/>
                </a:path>
              </a:pathLst>
            </a:custGeom>
            <a:solidFill>
              <a:srgbClr val="84B819"/>
            </a:solidFill>
            <a:ln w="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3" name="Rectangle 9">
            <a:extLst>
              <a:ext uri="{FF2B5EF4-FFF2-40B4-BE49-F238E27FC236}">
                <a16:creationId xmlns:a16="http://schemas.microsoft.com/office/drawing/2014/main" id="{6DCE30A8-0BEB-4FE5-B89F-57971EB0E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9124" y="2815855"/>
            <a:ext cx="1780316" cy="6985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125978" tIns="45711" rIns="53990" bIns="45711" anchor="ctr"/>
          <a:lstStyle>
            <a:lvl1pPr defTabSz="358775">
              <a:lnSpc>
                <a:spcPts val="1800"/>
              </a:lnSpc>
              <a:spcBef>
                <a:spcPts val="400"/>
              </a:spcBef>
              <a:defRPr>
                <a:solidFill>
                  <a:srgbClr val="000000"/>
                </a:solidFill>
                <a:latin typeface="Arial"/>
              </a:defRPr>
            </a:lvl1pPr>
            <a:lvl2pPr marL="742950" indent="-285750" defTabSz="358775">
              <a:buChar char="•"/>
              <a:defRPr sz="1500">
                <a:solidFill>
                  <a:srgbClr val="000000"/>
                </a:solidFill>
                <a:latin typeface="Arial"/>
              </a:defRPr>
            </a:lvl2pPr>
            <a:lvl3pPr marL="1143000" indent="-228600" defTabSz="358775">
              <a:buChar char="–"/>
              <a:defRPr sz="1500">
                <a:solidFill>
                  <a:srgbClr val="000000"/>
                </a:solidFill>
                <a:latin typeface="Arial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>
                <a:solidFill>
                  <a:srgbClr val="000000"/>
                </a:solidFill>
                <a:latin typeface="Arial"/>
              </a:defRPr>
            </a:lvl4pPr>
            <a:lvl5pPr marL="2057400" indent="-228600" algn="ctr" defTabSz="358775">
              <a:lnSpc>
                <a:spcPts val="1738"/>
              </a:lnSpc>
              <a:defRPr sz="1500" b="1">
                <a:solidFill>
                  <a:srgbClr val="000000"/>
                </a:solidFill>
                <a:latin typeface="Arial"/>
              </a:defRPr>
            </a:lvl5pPr>
            <a:lvl6pPr marL="25146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6pPr>
            <a:lvl7pPr marL="29718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7pPr>
            <a:lvl8pPr marL="34290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8pPr>
            <a:lvl9pPr marL="38862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b="1" dirty="0"/>
              <a:t>SVG </a:t>
            </a:r>
            <a:r>
              <a:rPr lang="en-US" b="1"/>
              <a:t>(preferred)</a:t>
            </a:r>
            <a:endParaRPr dirty="0"/>
          </a:p>
        </p:txBody>
      </p:sp>
      <p:sp>
        <p:nvSpPr>
          <p:cNvPr id="64" name="Rectangle 9">
            <a:extLst>
              <a:ext uri="{FF2B5EF4-FFF2-40B4-BE49-F238E27FC236}">
                <a16:creationId xmlns:a16="http://schemas.microsoft.com/office/drawing/2014/main" id="{E007D471-1884-4E86-8576-96EF7CCC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9124" y="4741876"/>
            <a:ext cx="1780316" cy="6985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125978" tIns="45711" rIns="53990" bIns="45711" anchor="ctr"/>
          <a:lstStyle>
            <a:lvl1pPr defTabSz="358775">
              <a:lnSpc>
                <a:spcPts val="1800"/>
              </a:lnSpc>
              <a:spcBef>
                <a:spcPts val="400"/>
              </a:spcBef>
              <a:defRPr>
                <a:solidFill>
                  <a:srgbClr val="000000"/>
                </a:solidFill>
                <a:latin typeface="Arial"/>
              </a:defRPr>
            </a:lvl1pPr>
            <a:lvl2pPr marL="742950" indent="-285750" defTabSz="358775">
              <a:buChar char="•"/>
              <a:defRPr sz="1500">
                <a:solidFill>
                  <a:srgbClr val="000000"/>
                </a:solidFill>
                <a:latin typeface="Arial"/>
              </a:defRPr>
            </a:lvl2pPr>
            <a:lvl3pPr marL="1143000" indent="-228600" defTabSz="358775">
              <a:buChar char="–"/>
              <a:defRPr sz="1500">
                <a:solidFill>
                  <a:srgbClr val="000000"/>
                </a:solidFill>
                <a:latin typeface="Arial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>
                <a:solidFill>
                  <a:srgbClr val="000000"/>
                </a:solidFill>
                <a:latin typeface="Arial"/>
              </a:defRPr>
            </a:lvl4pPr>
            <a:lvl5pPr marL="2057400" indent="-228600" algn="ctr" defTabSz="358775">
              <a:lnSpc>
                <a:spcPts val="1738"/>
              </a:lnSpc>
              <a:defRPr sz="1500" b="1">
                <a:solidFill>
                  <a:srgbClr val="000000"/>
                </a:solidFill>
                <a:latin typeface="Arial"/>
              </a:defRPr>
            </a:lvl5pPr>
            <a:lvl6pPr marL="25146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6pPr>
            <a:lvl7pPr marL="29718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7pPr>
            <a:lvl8pPr marL="34290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8pPr>
            <a:lvl9pPr marL="3886200" indent="-228600" algn="ctr" defTabSz="358775">
              <a:lnSpc>
                <a:spcPts val="1738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0000"/>
                </a:solidFill>
                <a:latin typeface="Arial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b="1" dirty="0"/>
              <a:t>Converted to PPT shapes</a:t>
            </a:r>
            <a:endParaRPr dirty="0"/>
          </a:p>
        </p:txBody>
      </p:sp>
      <p:sp>
        <p:nvSpPr>
          <p:cNvPr id="65" name="Rechteck 13">
            <a:extLst>
              <a:ext uri="{FF2B5EF4-FFF2-40B4-BE49-F238E27FC236}">
                <a16:creationId xmlns:a16="http://schemas.microsoft.com/office/drawing/2014/main" id="{828068E9-725C-46A3-9C07-0848F4B9C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4407" y="6102350"/>
            <a:ext cx="6438900" cy="560388"/>
          </a:xfrm>
          <a:prstGeom prst="rect">
            <a:avLst/>
          </a:prstGeom>
          <a:solidFill>
            <a:srgbClr val="7D9F3F"/>
          </a:solidFill>
          <a:ln w="19050" algn="ctr">
            <a:noFill/>
            <a:round/>
            <a:headEnd/>
            <a:tailEnd type="triangle" w="lg" len="med"/>
          </a:ln>
        </p:spPr>
        <p:txBody>
          <a:bodyPr lIns="72000" tIns="72000" rIns="72000" bIns="72000" anchor="ctr"/>
          <a:lstStyle>
            <a:lvl1pPr defTabSz="358775">
              <a:lnSpc>
                <a:spcPts val="1800"/>
              </a:lnSpc>
              <a:spcBef>
                <a:spcPts val="400"/>
              </a:spcBef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358775">
              <a:buChar char="•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358775">
              <a:buChar char="–"/>
              <a:defRPr kumimoji="1" sz="15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358775">
              <a:lnSpc>
                <a:spcPts val="1800"/>
              </a:lnSpc>
              <a:spcBef>
                <a:spcPts val="400"/>
              </a:spcBef>
              <a:buChar char="-"/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algn="ctr" defTabSz="358775">
              <a:lnSpc>
                <a:spcPts val="1738"/>
              </a:lnSpc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algn="ctr" defTabSz="358775" eaLnBrk="0" fontAlgn="base" hangingPunct="0">
              <a:lnSpc>
                <a:spcPts val="1738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ts val="200"/>
              </a:spcBef>
            </a:pPr>
            <a:r>
              <a:rPr lang="en-US" altLang="en-US" b="1" dirty="0">
                <a:solidFill>
                  <a:schemeClr val="bg1"/>
                </a:solidFill>
                <a:cs typeface="Arial" panose="020B0604020202020204" pitchFamily="34" charset="0"/>
              </a:rPr>
              <a:t>Both versions scale without quality loss</a:t>
            </a:r>
          </a:p>
        </p:txBody>
      </p:sp>
    </p:spTree>
    <p:extLst>
      <p:ext uri="{BB962C8B-B14F-4D97-AF65-F5344CB8AC3E}">
        <p14:creationId xmlns:p14="http://schemas.microsoft.com/office/powerpoint/2010/main" val="165566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62FEA2F6-BDD3-4D3F-87A2-809DCD44C3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976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0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57A220-46EC-417C-8459-6393C6BBA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I am the “action title” and paraphrase this slide’s core messag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92E5C-B8EE-4495-963F-0A521BCA7F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/>
              <a:t>The subtitle summarizes what’s on the sli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9CEA79-960B-4B9B-9423-1CFCE4ED4F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sp>
        <p:nvSpPr>
          <p:cNvPr id="6" name="Oval 10">
            <a:extLst>
              <a:ext uri="{FF2B5EF4-FFF2-40B4-BE49-F238E27FC236}">
                <a16:creationId xmlns:a16="http://schemas.microsoft.com/office/drawing/2014/main" id="{CE975CCA-1801-4E54-A01B-641D1D680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9778" y="2556309"/>
            <a:ext cx="2557462" cy="900111"/>
          </a:xfrm>
          <a:prstGeom prst="ellipse">
            <a:avLst/>
          </a:prstGeom>
          <a:solidFill>
            <a:srgbClr val="7D9F3F"/>
          </a:solidFill>
          <a:ln w="19050">
            <a:solidFill>
              <a:srgbClr val="7D9F3F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defRPr kumimoji="1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Text in a</a:t>
            </a:r>
            <a:b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</a:b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bubble is always</a:t>
            </a:r>
            <a:b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</a:b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centered</a:t>
            </a:r>
            <a:endParaRPr kumimoji="1" lang="de-DE" altLang="de-DE" sz="18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32F0ECE2-0E15-4ABE-B445-287143F48E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8977" y="2611874"/>
            <a:ext cx="3499848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554" indent="-342554" algn="l" defTabSz="358413" rtl="0" eaLnBrk="0" fontAlgn="base" hangingPunct="0">
              <a:lnSpc>
                <a:spcPts val="1800"/>
              </a:lnSpc>
              <a:spcBef>
                <a:spcPts val="40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26608" indent="-425020" algn="l" defTabSz="358413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kumimoji="1" sz="1500">
                <a:solidFill>
                  <a:srgbClr val="000000"/>
                </a:solidFill>
                <a:latin typeface="+mn-lt"/>
              </a:defRPr>
            </a:lvl2pPr>
            <a:lvl3pPr marL="908720" indent="-480527" algn="l" defTabSz="358413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kumimoji="1" sz="1500">
                <a:solidFill>
                  <a:srgbClr val="000000"/>
                </a:solidFill>
                <a:latin typeface="+mn-lt"/>
              </a:defRPr>
            </a:lvl3pPr>
            <a:lvl4pPr marL="1348014" indent="-437709" algn="l" defTabSz="358413" rtl="0" eaLnBrk="0" fontAlgn="base" hangingPunct="0">
              <a:lnSpc>
                <a:spcPts val="1800"/>
              </a:lnSpc>
              <a:spcBef>
                <a:spcPts val="400"/>
              </a:spcBef>
              <a:spcAft>
                <a:spcPct val="0"/>
              </a:spcAft>
              <a:buChar char="-"/>
              <a:defRPr kumimoji="1">
                <a:solidFill>
                  <a:srgbClr val="000000"/>
                </a:solidFill>
                <a:latin typeface="+mn-lt"/>
              </a:defRPr>
            </a:lvl4pPr>
            <a:lvl5pPr marL="2854619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5pPr>
            <a:lvl6pPr marL="3311360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6pPr>
            <a:lvl7pPr marL="3768098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7pPr>
            <a:lvl8pPr marL="4224838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8pPr>
            <a:lvl9pPr marL="4681573" indent="3175" algn="ctr" defTabSz="358413" rtl="0" eaLnBrk="0" fontAlgn="base" hangingPunct="0">
              <a:lnSpc>
                <a:spcPts val="1736"/>
              </a:lnSpc>
              <a:spcBef>
                <a:spcPct val="0"/>
              </a:spcBef>
              <a:spcAft>
                <a:spcPct val="0"/>
              </a:spcAft>
              <a:defRPr kumimoji="1" sz="1500" b="1">
                <a:solidFill>
                  <a:srgbClr val="000000"/>
                </a:solidFill>
                <a:latin typeface="+mn-lt"/>
              </a:defRPr>
            </a:lvl9pPr>
          </a:lstStyle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eadlines are bold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de-DE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andard text always starts with a capital letter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ists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ways start with a dot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first word starts with a capital letter</a:t>
            </a:r>
          </a:p>
          <a:p>
            <a:pPr marL="180793" marR="0" lvl="0" indent="-180793" algn="l" defTabSz="358413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d so on</a:t>
            </a:r>
          </a:p>
        </p:txBody>
      </p:sp>
      <p:sp>
        <p:nvSpPr>
          <p:cNvPr id="8" name="Rectangle 16">
            <a:extLst>
              <a:ext uri="{FF2B5EF4-FFF2-40B4-BE49-F238E27FC236}">
                <a16:creationId xmlns:a16="http://schemas.microsoft.com/office/drawing/2014/main" id="{0A12A13C-8015-4AA4-8135-8AC7686E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264" y="3813607"/>
            <a:ext cx="3285840" cy="1036277"/>
          </a:xfrm>
          <a:prstGeom prst="rect">
            <a:avLst/>
          </a:prstGeom>
          <a:solidFill>
            <a:srgbClr val="FFFFF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 lIns="91344" tIns="45672" rIns="91344" bIns="45672" anchor="ctr"/>
          <a:lstStyle>
            <a:lvl1pPr>
              <a:defRPr kumimoji="1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ext in a box is typically left-aligned (horizontally) and centered (vertically)</a:t>
            </a:r>
            <a:endParaRPr kumimoji="1" lang="en-US" altLang="de-DE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reeform 39">
            <a:extLst>
              <a:ext uri="{FF2B5EF4-FFF2-40B4-BE49-F238E27FC236}">
                <a16:creationId xmlns:a16="http://schemas.microsoft.com/office/drawing/2014/main" id="{E61D9AC4-FF37-4867-BC94-0B91DC204EA5}"/>
              </a:ext>
            </a:extLst>
          </p:cNvPr>
          <p:cNvSpPr>
            <a:spLocks/>
          </p:cNvSpPr>
          <p:nvPr/>
        </p:nvSpPr>
        <p:spPr bwMode="auto">
          <a:xfrm>
            <a:off x="5670264" y="5126470"/>
            <a:ext cx="2236781" cy="785814"/>
          </a:xfrm>
          <a:custGeom>
            <a:avLst/>
            <a:gdLst>
              <a:gd name="T0" fmla="*/ 0 w 146"/>
              <a:gd name="T1" fmla="*/ 0 h 70"/>
              <a:gd name="T2" fmla="*/ 0 w 146"/>
              <a:gd name="T3" fmla="*/ 2147483647 h 70"/>
              <a:gd name="T4" fmla="*/ 2147483647 w 146"/>
              <a:gd name="T5" fmla="*/ 2147483647 h 70"/>
              <a:gd name="T6" fmla="*/ 2147483647 w 146"/>
              <a:gd name="T7" fmla="*/ 2147483647 h 70"/>
              <a:gd name="T8" fmla="*/ 2147483647 w 146"/>
              <a:gd name="T9" fmla="*/ 0 h 70"/>
              <a:gd name="T10" fmla="*/ 0 w 146"/>
              <a:gd name="T11" fmla="*/ 0 h 7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6"/>
              <a:gd name="T19" fmla="*/ 0 h 70"/>
              <a:gd name="T20" fmla="*/ 146 w 146"/>
              <a:gd name="T21" fmla="*/ 70 h 7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6" h="70">
                <a:moveTo>
                  <a:pt x="0" y="0"/>
                </a:moveTo>
                <a:lnTo>
                  <a:pt x="0" y="70"/>
                </a:lnTo>
                <a:lnTo>
                  <a:pt x="131" y="70"/>
                </a:lnTo>
                <a:lnTo>
                  <a:pt x="146" y="35"/>
                </a:lnTo>
                <a:lnTo>
                  <a:pt x="131" y="0"/>
                </a:lnTo>
                <a:lnTo>
                  <a:pt x="0" y="0"/>
                </a:lnTo>
                <a:close/>
              </a:path>
            </a:pathLst>
          </a:custGeom>
          <a:solidFill>
            <a:srgbClr val="7D9F3F"/>
          </a:solidFill>
          <a:ln w="19050">
            <a:solidFill>
              <a:srgbClr val="7D9F3F"/>
            </a:solidFill>
            <a:round/>
            <a:headEnd/>
            <a:tailEnd/>
          </a:ln>
        </p:spPr>
        <p:txBody>
          <a:bodyPr lIns="91344" tIns="45672" rIns="91344" bIns="45672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de-DE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am a typical arrow</a:t>
            </a:r>
          </a:p>
        </p:txBody>
      </p:sp>
      <p:sp>
        <p:nvSpPr>
          <p:cNvPr id="12" name="Line 55">
            <a:extLst>
              <a:ext uri="{FF2B5EF4-FFF2-40B4-BE49-F238E27FC236}">
                <a16:creationId xmlns:a16="http://schemas.microsoft.com/office/drawing/2014/main" id="{FAD36DA1-49CE-40BD-B8F2-CAFEF4EBEF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>
            <a:off x="5132104" y="6540929"/>
            <a:ext cx="2862262" cy="0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5" tIns="71925" rIns="71925" bIns="71925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Line 56">
            <a:extLst>
              <a:ext uri="{FF2B5EF4-FFF2-40B4-BE49-F238E27FC236}">
                <a16:creationId xmlns:a16="http://schemas.microsoft.com/office/drawing/2014/main" id="{CD41FABC-7D6B-46D6-AEE1-1B2D8BEDA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3700179" y="5109005"/>
            <a:ext cx="2863850" cy="0"/>
          </a:xfrm>
          <a:prstGeom prst="line">
            <a:avLst/>
          </a:prstGeom>
          <a:noFill/>
          <a:ln w="19050">
            <a:solidFill>
              <a:srgbClr val="7D9F3F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5" tIns="71925" rIns="71925" bIns="71925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Freeform 65">
            <a:extLst>
              <a:ext uri="{FF2B5EF4-FFF2-40B4-BE49-F238E27FC236}">
                <a16:creationId xmlns:a16="http://schemas.microsoft.com/office/drawing/2014/main" id="{EB84069A-24AE-456E-AF4C-72123ABC6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rot="16374037">
            <a:off x="8880430" y="5326145"/>
            <a:ext cx="234950" cy="696912"/>
          </a:xfrm>
          <a:custGeom>
            <a:avLst/>
            <a:gdLst>
              <a:gd name="T0" fmla="*/ 2147483646 w 21"/>
              <a:gd name="T1" fmla="*/ 2147483646 h 63"/>
              <a:gd name="T2" fmla="*/ 0 w 21"/>
              <a:gd name="T3" fmla="*/ 0 h 63"/>
              <a:gd name="T4" fmla="*/ 2147483646 w 21"/>
              <a:gd name="T5" fmla="*/ 2147483646 h 63"/>
              <a:gd name="T6" fmla="*/ 2147483646 w 21"/>
              <a:gd name="T7" fmla="*/ 2147483646 h 63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63"/>
              <a:gd name="T14" fmla="*/ 21 w 21"/>
              <a:gd name="T15" fmla="*/ 63 h 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63">
                <a:moveTo>
                  <a:pt x="11" y="63"/>
                </a:moveTo>
                <a:lnTo>
                  <a:pt x="0" y="0"/>
                </a:lnTo>
                <a:lnTo>
                  <a:pt x="21" y="57"/>
                </a:lnTo>
                <a:lnTo>
                  <a:pt x="11" y="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Oval 66">
            <a:extLst>
              <a:ext uri="{FF2B5EF4-FFF2-40B4-BE49-F238E27FC236}">
                <a16:creationId xmlns:a16="http://schemas.microsoft.com/office/drawing/2014/main" id="{0E1F636F-43E1-4409-86EC-977A92C3A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3898" y="5184134"/>
            <a:ext cx="1981200" cy="774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</a:pPr>
            <a:r>
              <a:rPr lang="en-US" altLang="en-US" dirty="0"/>
              <a:t>Use callouts sparsely</a:t>
            </a:r>
          </a:p>
        </p:txBody>
      </p:sp>
    </p:spTree>
    <p:extLst>
      <p:ext uri="{BB962C8B-B14F-4D97-AF65-F5344CB8AC3E}">
        <p14:creationId xmlns:p14="http://schemas.microsoft.com/office/powerpoint/2010/main" val="30596021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9447188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2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 titles are important</a:t>
            </a:r>
            <a:endParaRPr lang="en-US" dirty="0"/>
          </a:p>
        </p:txBody>
      </p:sp>
      <p:sp>
        <p:nvSpPr>
          <p:cNvPr id="6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  <p:sp>
        <p:nvSpPr>
          <p:cNvPr id="7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3388" y="2081460"/>
            <a:ext cx="1208086" cy="4869111"/>
          </a:xfrm>
          <a:prstGeom prst="rect">
            <a:avLst/>
          </a:prstGeom>
          <a:solidFill>
            <a:srgbClr val="7D9F3F"/>
          </a:solidFill>
          <a:ln w="19050">
            <a:solidFill>
              <a:srgbClr val="7D9F3F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9pPr>
          </a:lstStyle>
          <a:p>
            <a:pPr>
              <a:defRPr/>
            </a:pPr>
            <a:endParaRPr lang="en-US" sz="1600"/>
          </a:p>
        </p:txBody>
      </p:sp>
      <p:grpSp>
        <p:nvGrpSpPr>
          <p:cNvPr id="8" name="Group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 bwMode="auto">
          <a:xfrm>
            <a:off x="1450412" y="2363645"/>
            <a:ext cx="8558212" cy="698500"/>
            <a:chOff x="1227138" y="2605088"/>
            <a:chExt cx="8558212" cy="698500"/>
          </a:xfrm>
        </p:grpSpPr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1227138" y="2605088"/>
              <a:ext cx="2260600" cy="698500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0" name="Text Box 16"/>
            <p:cNvSpPr txBox="1">
              <a:spLocks noChangeArrowheads="1"/>
            </p:cNvSpPr>
            <p:nvPr/>
          </p:nvSpPr>
          <p:spPr bwMode="auto">
            <a:xfrm>
              <a:off x="3806825" y="2605088"/>
              <a:ext cx="5978525" cy="698500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  <p:grpSp>
        <p:nvGrpSpPr>
          <p:cNvPr id="11" name="Group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 bwMode="auto">
          <a:xfrm>
            <a:off x="1450412" y="3405839"/>
            <a:ext cx="8558212" cy="687388"/>
            <a:chOff x="1227138" y="4743450"/>
            <a:chExt cx="8558212" cy="687388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27138" y="4743450"/>
              <a:ext cx="2260600" cy="687388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3" name="Text Box 17"/>
            <p:cNvSpPr txBox="1">
              <a:spLocks noChangeArrowheads="1"/>
            </p:cNvSpPr>
            <p:nvPr/>
          </p:nvSpPr>
          <p:spPr bwMode="auto">
            <a:xfrm>
              <a:off x="3806825" y="4743450"/>
              <a:ext cx="5978525" cy="68738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  <p:grpSp>
        <p:nvGrpSpPr>
          <p:cNvPr id="14" name="Group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 bwMode="auto">
          <a:xfrm>
            <a:off x="1450412" y="5929170"/>
            <a:ext cx="8558212" cy="687388"/>
            <a:chOff x="1227138" y="4743450"/>
            <a:chExt cx="8558212" cy="687388"/>
          </a:xfrm>
        </p:grpSpPr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27138" y="4743450"/>
              <a:ext cx="2260600" cy="687388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>
              <a:off x="3806825" y="4743450"/>
              <a:ext cx="5978525" cy="68738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  <p:grpSp>
        <p:nvGrpSpPr>
          <p:cNvPr id="17" name="Group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 bwMode="auto">
          <a:xfrm>
            <a:off x="1450412" y="4667504"/>
            <a:ext cx="8558212" cy="687388"/>
            <a:chOff x="1227138" y="4743450"/>
            <a:chExt cx="8558212" cy="687388"/>
          </a:xfrm>
        </p:grpSpPr>
        <p:sp>
          <p:nvSpPr>
            <p:cNvPr id="18" name="Rectangle 10"/>
            <p:cNvSpPr>
              <a:spLocks noChangeArrowheads="1"/>
            </p:cNvSpPr>
            <p:nvPr/>
          </p:nvSpPr>
          <p:spPr bwMode="auto">
            <a:xfrm>
              <a:off x="1227138" y="4743450"/>
              <a:ext cx="2260600" cy="687388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lIns="125978" tIns="45711" rIns="53990" bIns="45711" anchor="ctr"/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 defTabSz="358775">
                <a:buChar char="•"/>
                <a:defRPr sz="1500">
                  <a:solidFill>
                    <a:srgbClr val="000000"/>
                  </a:solidFill>
                  <a:latin typeface="Arial"/>
                </a:defRPr>
              </a:lvl2pPr>
              <a:lvl3pPr marL="1143000" indent="-228600" defTabSz="358775">
                <a:buChar char="–"/>
                <a:defRPr sz="1500">
                  <a:solidFill>
                    <a:srgbClr val="000000"/>
                  </a:solidFill>
                  <a:latin typeface="Arial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 algn="ctr" defTabSz="358775">
                <a:lnSpc>
                  <a:spcPts val="1738"/>
                </a:lnSpc>
                <a:defRPr sz="1500" b="1">
                  <a:solidFill>
                    <a:srgbClr val="000000"/>
                  </a:solidFill>
                  <a:latin typeface="Arial"/>
                </a:defRPr>
              </a:lvl5pPr>
              <a:lvl6pPr marL="25146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6pPr>
              <a:lvl7pPr marL="29718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7pPr>
              <a:lvl8pPr marL="34290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8pPr>
              <a:lvl9pPr marL="3886200" indent="-228600" algn="ctr" defTabSz="358775">
                <a:lnSpc>
                  <a:spcPts val="1738"/>
                </a:lnSpc>
                <a:spcBef>
                  <a:spcPts val="0"/>
                </a:spcBef>
                <a:spcAft>
                  <a:spcPts val="0"/>
                </a:spcAft>
                <a:defRPr sz="1500" b="1">
                  <a:solidFill>
                    <a:srgbClr val="000000"/>
                  </a:solidFill>
                  <a:latin typeface="Arial"/>
                </a:defRPr>
              </a:lvl9pPr>
            </a:lstStyle>
            <a:p>
              <a:pPr>
                <a:lnSpc>
                  <a:spcPct val="100000"/>
                </a:lnSpc>
                <a:defRPr/>
              </a:pPr>
              <a:r>
                <a:rPr lang="en-US" b="1"/>
                <a:t>Text</a:t>
              </a:r>
              <a:endParaRPr/>
            </a:p>
          </p:txBody>
        </p:sp>
        <p:sp>
          <p:nvSpPr>
            <p:cNvPr id="19" name="Text Box 17"/>
            <p:cNvSpPr txBox="1">
              <a:spLocks noChangeArrowheads="1"/>
            </p:cNvSpPr>
            <p:nvPr/>
          </p:nvSpPr>
          <p:spPr bwMode="auto">
            <a:xfrm>
              <a:off x="3806825" y="4743450"/>
              <a:ext cx="5978525" cy="68738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noAutofit/>
            </a:bodyPr>
            <a:lstStyle>
              <a:lvl1pPr marL="187325" indent="-187325"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  <a:p>
              <a:pPr marL="285750" indent="-285750">
                <a:lnSpc>
                  <a:spcPts val="1650"/>
                </a:lnSpc>
                <a:spcBef>
                  <a:spcPts val="0"/>
                </a:spcBef>
                <a:buFont typeface="Arial"/>
                <a:buChar char="•"/>
                <a:defRPr/>
              </a:pPr>
              <a:r>
                <a:rPr lang="en-US"/>
                <a:t>Information</a:t>
              </a:r>
              <a:endParaRPr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22673214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6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 bwMode="auto">
          <a:xfrm>
            <a:off x="1123388" y="2082960"/>
            <a:ext cx="11158732" cy="1987290"/>
            <a:chOff x="861119" y="1569373"/>
            <a:chExt cx="9030594" cy="2424960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861119" y="1569373"/>
              <a:ext cx="1519223" cy="2424960"/>
            </a:xfrm>
            <a:prstGeom prst="rect">
              <a:avLst/>
            </a:prstGeom>
            <a:solidFill>
              <a:srgbClr val="7D9F3F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>
                  <a:solidFill>
                    <a:schemeClr val="bg1"/>
                  </a:solidFill>
                </a:rPr>
                <a:t>Structure the conversation, demonstrate interest</a:t>
              </a:r>
              <a:endParaRPr/>
            </a:p>
          </p:txBody>
        </p:sp>
        <p:sp>
          <p:nvSpPr>
            <p:cNvPr id="7" name="Rectangle 58"/>
            <p:cNvSpPr>
              <a:spLocks noChangeArrowheads="1"/>
            </p:cNvSpPr>
            <p:nvPr/>
          </p:nvSpPr>
          <p:spPr bwMode="auto">
            <a:xfrm>
              <a:off x="2380343" y="1569373"/>
              <a:ext cx="7511370" cy="2423130"/>
            </a:xfrm>
            <a:prstGeom prst="rect">
              <a:avLst/>
            </a:prstGeom>
            <a:noFill/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179940" tIns="0" rIns="17994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Finish </a:t>
              </a:r>
              <a:r>
                <a:rPr lang="en-US"/>
                <a:t>one topic, then </a:t>
              </a:r>
              <a:r>
                <a:rPr lang="en-US" b="1"/>
                <a:t>start the next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Do not get irritated </a:t>
              </a:r>
              <a:r>
                <a:rPr lang="en-US"/>
                <a:t>by accusations and critique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Get interviewee to speak by </a:t>
              </a:r>
              <a:r>
                <a:rPr lang="en-US" b="1"/>
                <a:t>asking open questions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Encourage interviewee </a:t>
              </a:r>
              <a:r>
                <a:rPr lang="en-US"/>
                <a:t>to continue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Let interviewee finish </a:t>
              </a:r>
              <a:r>
                <a:rPr lang="en-US"/>
                <a:t>speaking, but do interrupt interviewee if needed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Allow pauses</a:t>
              </a:r>
              <a:endParaRPr/>
            </a:p>
          </p:txBody>
        </p:sp>
      </p:grpSp>
      <p:grpSp>
        <p:nvGrpSpPr>
          <p:cNvPr id="8" name="Group 2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 bwMode="auto">
          <a:xfrm>
            <a:off x="1123388" y="4305063"/>
            <a:ext cx="11184047" cy="1495229"/>
            <a:chOff x="861119" y="4146155"/>
            <a:chExt cx="9051081" cy="1332023"/>
          </a:xfrm>
        </p:grpSpPr>
        <p:sp>
          <p:nvSpPr>
            <p:cNvPr id="9" name="Rectangle 3"/>
            <p:cNvSpPr>
              <a:spLocks noChangeArrowheads="1"/>
            </p:cNvSpPr>
            <p:nvPr/>
          </p:nvSpPr>
          <p:spPr bwMode="auto">
            <a:xfrm>
              <a:off x="861119" y="4146155"/>
              <a:ext cx="1519223" cy="1332022"/>
            </a:xfrm>
            <a:prstGeom prst="rect">
              <a:avLst/>
            </a:prstGeom>
            <a:solidFill>
              <a:srgbClr val="7D9F3F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defRPr/>
              </a:pPr>
              <a:r>
                <a:rPr lang="en-US" b="1">
                  <a:solidFill>
                    <a:schemeClr val="bg1"/>
                  </a:solidFill>
                </a:rPr>
                <a:t>Think</a:t>
              </a:r>
              <a:br>
                <a:rPr lang="en-US" b="1">
                  <a:solidFill>
                    <a:schemeClr val="bg1"/>
                  </a:solidFill>
                </a:rPr>
              </a:br>
              <a:r>
                <a:rPr lang="en-US" b="1">
                  <a:solidFill>
                    <a:schemeClr val="bg1"/>
                  </a:solidFill>
                </a:rPr>
                <a:t>(don’t talk)</a:t>
              </a:r>
              <a:endParaRPr/>
            </a:p>
          </p:txBody>
        </p:sp>
        <p:sp>
          <p:nvSpPr>
            <p:cNvPr id="10" name="Rectangle 58"/>
            <p:cNvSpPr>
              <a:spLocks noChangeArrowheads="1"/>
            </p:cNvSpPr>
            <p:nvPr/>
          </p:nvSpPr>
          <p:spPr bwMode="auto">
            <a:xfrm>
              <a:off x="2385759" y="4146156"/>
              <a:ext cx="7526441" cy="1332022"/>
            </a:xfrm>
            <a:prstGeom prst="rect">
              <a:avLst/>
            </a:prstGeom>
            <a:noFill/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179940" tIns="0" rIns="17994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What was the answer, really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Does he/she </a:t>
              </a:r>
              <a:r>
                <a:rPr lang="en-US" b="1"/>
                <a:t>evade a question</a:t>
              </a:r>
              <a:r>
                <a:rPr lang="en-US"/>
                <a:t>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Did the </a:t>
              </a:r>
              <a:r>
                <a:rPr lang="en-US" b="1"/>
                <a:t>answer help you</a:t>
              </a:r>
              <a:r>
                <a:rPr lang="en-US"/>
                <a:t>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Why is he/she </a:t>
              </a:r>
              <a:r>
                <a:rPr lang="en-US" b="1"/>
                <a:t>smiling </a:t>
              </a:r>
              <a:r>
                <a:rPr lang="en-US"/>
                <a:t>after that question?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 b="1"/>
                <a:t>Why does he/she tell me that?</a:t>
              </a:r>
              <a:endParaRPr/>
            </a:p>
          </p:txBody>
        </p:sp>
      </p:grpSp>
      <p:grpSp>
        <p:nvGrpSpPr>
          <p:cNvPr id="11" name="Group 2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 bwMode="auto">
          <a:xfrm>
            <a:off x="1123387" y="6005625"/>
            <a:ext cx="11178155" cy="998808"/>
            <a:chOff x="861118" y="5631827"/>
            <a:chExt cx="9046314" cy="1110080"/>
          </a:xfrm>
        </p:grpSpPr>
        <p:sp>
          <p:nvSpPr>
            <p:cNvPr id="12" name="Rectangle 3"/>
            <p:cNvSpPr>
              <a:spLocks noChangeArrowheads="1"/>
            </p:cNvSpPr>
            <p:nvPr/>
          </p:nvSpPr>
          <p:spPr bwMode="auto">
            <a:xfrm>
              <a:off x="861118" y="5631827"/>
              <a:ext cx="1513193" cy="1110080"/>
            </a:xfrm>
            <a:prstGeom prst="rect">
              <a:avLst/>
            </a:prstGeom>
            <a:solidFill>
              <a:srgbClr val="7D9F3F"/>
            </a:solidFill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algn="ctr">
                <a:lnSpc>
                  <a:spcPts val="1800"/>
                </a:lnSpc>
                <a:defRPr/>
              </a:pPr>
              <a:r>
                <a:rPr lang="en-US" sz="1800" b="1">
                  <a:solidFill>
                    <a:schemeClr val="bg1"/>
                  </a:solidFill>
                </a:rPr>
                <a:t>Use body language</a:t>
              </a:r>
              <a:endParaRPr/>
            </a:p>
          </p:txBody>
        </p:sp>
        <p:sp>
          <p:nvSpPr>
            <p:cNvPr id="13" name="Rectangle 58"/>
            <p:cNvSpPr>
              <a:spLocks noChangeArrowheads="1"/>
            </p:cNvSpPr>
            <p:nvPr/>
          </p:nvSpPr>
          <p:spPr bwMode="auto">
            <a:xfrm>
              <a:off x="2380991" y="5631827"/>
              <a:ext cx="7526441" cy="1110079"/>
            </a:xfrm>
            <a:prstGeom prst="rect">
              <a:avLst/>
            </a:prstGeom>
            <a:noFill/>
            <a:ln w="19050" algn="ctr">
              <a:solidFill>
                <a:srgbClr val="7D9F3F"/>
              </a:solidFill>
              <a:miter lim="800000"/>
              <a:headEnd/>
              <a:tailEnd/>
            </a:ln>
          </p:spPr>
          <p:txBody>
            <a:bodyPr wrap="square" lIns="179940" tIns="0" rIns="179940" bIns="0" anchor="ctr">
              <a:noAutofit/>
            </a:bodyPr>
            <a:lstStyle>
              <a:lvl1pPr>
                <a:defRPr>
                  <a:solidFill>
                    <a:srgbClr val="000000"/>
                  </a:solidFill>
                  <a:latin typeface="Arial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/>
                </a:defRPr>
              </a:lvl5pPr>
              <a:lvl6pPr marL="25146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6pPr>
              <a:lvl7pPr marL="29718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7pPr>
              <a:lvl8pPr marL="34290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8pPr>
              <a:lvl9pPr marL="3886200" indent="-22860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Arial"/>
                </a:defRPr>
              </a:lvl9pPr>
            </a:lstStyle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Eye contact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Nodding</a:t>
              </a:r>
              <a:endParaRPr/>
            </a:p>
            <a:p>
              <a:pPr marL="285750" indent="-285750">
                <a:buFont typeface="Arial"/>
                <a:buChar char="•"/>
                <a:defRPr/>
              </a:pPr>
              <a:r>
                <a:rPr lang="en-US"/>
                <a:t>Posture</a:t>
              </a:r>
              <a:endParaRPr/>
            </a:p>
          </p:txBody>
        </p:sp>
      </p:grpSp>
      <p:sp>
        <p:nvSpPr>
          <p:cNvPr id="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 titles are important</a:t>
            </a:r>
            <a:endParaRPr lang="en-US" dirty="0"/>
          </a:p>
        </p:txBody>
      </p:sp>
      <p:sp>
        <p:nvSpPr>
          <p:cNvPr id="15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ome example content</a:t>
            </a:r>
            <a:endParaRPr lang="en-US" dirty="0"/>
          </a:p>
        </p:txBody>
      </p:sp>
      <p:sp>
        <p:nvSpPr>
          <p:cNvPr id="1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2"/>
          </p:nvPr>
        </p:nvSpPr>
        <p:spPr>
          <a:xfrm>
            <a:off x="1120311" y="7162455"/>
            <a:ext cx="10570929" cy="199350"/>
          </a:xfrm>
        </p:spPr>
        <p:txBody>
          <a:bodyPr/>
          <a:lstStyle/>
          <a:p>
            <a:r>
              <a:rPr lang="en-US" dirty="0"/>
              <a:t>Source: Demo (2013); Example et al. (2004)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7935043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0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en-US" dirty="0"/>
              <a:t>Action titles are important</a:t>
            </a:r>
          </a:p>
        </p:txBody>
      </p:sp>
      <p:sp>
        <p:nvSpPr>
          <p:cNvPr id="6" name="Content Placeholder 11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Learning objectives</a:t>
            </a:r>
            <a:endParaRPr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3F5E1A9-08E9-4FE6-9F16-6E7C3EEC96BE}" type="slidenum">
              <a:rPr lang="de-DE">
                <a:solidFill>
                  <a:srgbClr val="000000"/>
                </a:solidFill>
              </a:rPr>
              <a:t>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AutoShape 1031"/>
          <p:cNvSpPr>
            <a:spLocks noChangeArrowheads="1"/>
          </p:cNvSpPr>
          <p:nvPr/>
        </p:nvSpPr>
        <p:spPr bwMode="auto">
          <a:xfrm>
            <a:off x="1120312" y="2270052"/>
            <a:ext cx="11187123" cy="4101132"/>
          </a:xfrm>
          <a:prstGeom prst="roundRect">
            <a:avLst>
              <a:gd name="adj" fmla="val 8236"/>
            </a:avLst>
          </a:prstGeom>
          <a:solidFill>
            <a:srgbClr val="7D9F3F"/>
          </a:solidFill>
          <a:ln>
            <a:noFill/>
          </a:ln>
        </p:spPr>
        <p:txBody>
          <a:bodyPr lIns="71987" tIns="71987" rIns="71987" bIns="71987" anchor="ctr"/>
          <a:lstStyle>
            <a:lvl1pPr>
              <a:defRPr sz="1600">
                <a:solidFill>
                  <a:srgbClr val="000000"/>
                </a:solidFill>
                <a:latin typeface="Arial"/>
              </a:defRPr>
            </a:lvl1pPr>
            <a:lvl2pPr marL="742950" indent="-285750">
              <a:defRPr sz="1600">
                <a:solidFill>
                  <a:srgbClr val="000000"/>
                </a:solidFill>
                <a:latin typeface="Arial"/>
              </a:defRPr>
            </a:lvl2pPr>
            <a:lvl3pPr marL="1143000" indent="-228600">
              <a:defRPr sz="1600">
                <a:solidFill>
                  <a:srgbClr val="000000"/>
                </a:solidFill>
                <a:latin typeface="Arial"/>
              </a:defRPr>
            </a:lvl3pPr>
            <a:lvl4pPr marL="1600200" indent="-228600">
              <a:defRPr sz="1600">
                <a:solidFill>
                  <a:srgbClr val="000000"/>
                </a:solidFill>
                <a:latin typeface="Arial"/>
              </a:defRPr>
            </a:lvl4pPr>
            <a:lvl5pPr marL="2057400" indent="-228600">
              <a:defRPr sz="1600">
                <a:solidFill>
                  <a:srgbClr val="000000"/>
                </a:solidFill>
                <a:latin typeface="Arial"/>
              </a:defRPr>
            </a:lvl5pPr>
            <a:lvl6pPr marL="25146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6pPr>
            <a:lvl7pPr marL="29718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7pPr>
            <a:lvl8pPr marL="34290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8pPr>
            <a:lvl9pPr marL="3886200" indent="-22860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0000"/>
                </a:solidFill>
                <a:latin typeface="Arial"/>
              </a:defRPr>
            </a:lvl9pPr>
          </a:lstStyle>
          <a:p>
            <a:pPr>
              <a:spcAft>
                <a:spcPts val="900"/>
              </a:spcAft>
              <a:defRPr/>
            </a:pPr>
            <a:r>
              <a:rPr lang="en-US" sz="1800" b="1" dirty="0">
                <a:solidFill>
                  <a:schemeClr val="bg1"/>
                </a:solidFill>
              </a:rPr>
              <a:t>After studying this chapter you should be able to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explain the concepts of </a:t>
            </a:r>
            <a:r>
              <a:rPr lang="en-US" sz="1800" dirty="0" err="1">
                <a:solidFill>
                  <a:schemeClr val="bg1"/>
                </a:solidFill>
              </a:rPr>
              <a:t>xyz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articulate what you hope to learn by </a:t>
            </a:r>
            <a:r>
              <a:rPr lang="de-DE" sz="1800" dirty="0" err="1">
                <a:solidFill>
                  <a:schemeClr val="bg1"/>
                </a:solidFill>
              </a:rPr>
              <a:t>xyz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identify one fundamental question of </a:t>
            </a:r>
            <a:r>
              <a:rPr lang="en-US" sz="1800" dirty="0" err="1">
                <a:solidFill>
                  <a:schemeClr val="bg1"/>
                </a:solidFill>
              </a:rPr>
              <a:t>xyz</a:t>
            </a:r>
            <a:endParaRPr dirty="0"/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800" dirty="0">
                <a:solidFill>
                  <a:schemeClr val="bg1"/>
                </a:solidFill>
              </a:rPr>
              <a:t>participate in the debate on </a:t>
            </a:r>
            <a:r>
              <a:rPr lang="de-DE" sz="1800" dirty="0" err="1">
                <a:solidFill>
                  <a:schemeClr val="bg1"/>
                </a:solidFill>
              </a:rPr>
              <a:t>xyz</a:t>
            </a:r>
            <a:endParaRPr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9674947"/>
              </p:ext>
            </p:extLst>
          </p:nvPr>
        </p:nvGraphicFramePr>
        <p:xfrm>
          <a:off x="138033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44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380333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on titles are important</a:t>
            </a:r>
          </a:p>
        </p:txBody>
      </p:sp>
      <p:sp>
        <p:nvSpPr>
          <p:cNvPr id="6" name="Content Placeholder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5E1A9-08E9-4FE6-9F16-6E7C3EEC96BE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9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062858"/>
              </p:ext>
            </p:extLst>
          </p:nvPr>
        </p:nvGraphicFramePr>
        <p:xfrm>
          <a:off x="2115344" y="2148027"/>
          <a:ext cx="8896148" cy="4737600"/>
        </p:xfrm>
        <a:graphic>
          <a:graphicData uri="http://schemas.openxmlformats.org/drawingml/2006/table">
            <a:tbl>
              <a:tblPr firstRow="1"/>
              <a:tblGrid>
                <a:gridCol w="768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93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93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93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418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  <a:endParaRPr dirty="0"/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ntents</a:t>
                      </a:r>
                      <a:endParaRPr dirty="0"/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ore contents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ven more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98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9F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6045">
                <a:tc>
                  <a:txBody>
                    <a:bodyPr/>
                    <a:lstStyle/>
                    <a:p>
                      <a:pPr marL="0" indent="0"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069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7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7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305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52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070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1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79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  <a:round/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  <a:round/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  <a:round/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72000" marR="36000" marT="36000" marB="36000" anchor="ctr">
                    <a:lnL w="12700" algn="ctr">
                      <a:solidFill>
                        <a:schemeClr val="accent3">
                          <a:lumMod val="75000"/>
                        </a:schemeClr>
                      </a:solidFill>
                    </a:lnL>
                    <a:lnR w="12700" algn="ctr">
                      <a:solidFill>
                        <a:schemeClr val="accent3">
                          <a:lumMod val="75000"/>
                        </a:schemeClr>
                      </a:solidFill>
                    </a:lnR>
                    <a:lnT w="12700" algn="ctr">
                      <a:solidFill>
                        <a:schemeClr val="accent3">
                          <a:lumMod val="75000"/>
                        </a:schemeClr>
                      </a:solidFill>
                    </a:lnT>
                    <a:lnB w="12700" algn="ctr">
                      <a:solidFill>
                        <a:schemeClr val="accent3">
                          <a:lumMod val="7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AA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oPJbhYOb0tCHXxwda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F_Master">
  <a:themeElements>
    <a:clrScheme name="Vorlage groß 5">
      <a:dk1>
        <a:srgbClr val="000000"/>
      </a:dk1>
      <a:lt1>
        <a:srgbClr val="FFFFFF"/>
      </a:lt1>
      <a:dk2>
        <a:srgbClr val="000000"/>
      </a:dk2>
      <a:lt2>
        <a:srgbClr val="777777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777777"/>
      </a:hlink>
      <a:folHlink>
        <a:srgbClr val="000000"/>
      </a:folHlink>
    </a:clrScheme>
    <a:fontScheme name="Vorlage groß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lIns="0" rIns="0">
        <a:spAutoFit/>
      </a:bodyPr>
      <a:lstStyle>
        <a:defPPr marL="190500" indent="-190500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anchor="t" anchorCtr="0" compatLnSpc="1">
        <a:prstTxWarp prst="textNoShape">
          <a:avLst/>
        </a:prstTxWarp>
        <a:spAutoFit/>
      </a:bodyPr>
      <a:lstStyle>
        <a:defPPr marL="190500" marR="0" indent="-190500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orlage groß 1">
        <a:dk1>
          <a:srgbClr val="000000"/>
        </a:dk1>
        <a:lt1>
          <a:srgbClr val="FFFFFF"/>
        </a:lt1>
        <a:dk2>
          <a:srgbClr val="6600CC"/>
        </a:dk2>
        <a:lt2>
          <a:srgbClr val="CCECFF"/>
        </a:lt2>
        <a:accent1>
          <a:srgbClr val="00FFCC"/>
        </a:accent1>
        <a:accent2>
          <a:srgbClr val="9933FF"/>
        </a:accent2>
        <a:accent3>
          <a:srgbClr val="B8AAE2"/>
        </a:accent3>
        <a:accent4>
          <a:srgbClr val="DADADA"/>
        </a:accent4>
        <a:accent5>
          <a:srgbClr val="AAFFE2"/>
        </a:accent5>
        <a:accent6>
          <a:srgbClr val="8A2DE7"/>
        </a:accent6>
        <a:hlink>
          <a:srgbClr val="660066"/>
        </a:hlink>
        <a:folHlink>
          <a:srgbClr val="0066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groß 2">
        <a:dk1>
          <a:srgbClr val="660066"/>
        </a:dk1>
        <a:lt1>
          <a:srgbClr val="FFFFFF"/>
        </a:lt1>
        <a:dk2>
          <a:srgbClr val="FF00FF"/>
        </a:dk2>
        <a:lt2>
          <a:srgbClr val="FFCC99"/>
        </a:lt2>
        <a:accent1>
          <a:srgbClr val="99FF99"/>
        </a:accent1>
        <a:accent2>
          <a:srgbClr val="CC66FF"/>
        </a:accent2>
        <a:accent3>
          <a:srgbClr val="FFFFFF"/>
        </a:accent3>
        <a:accent4>
          <a:srgbClr val="560056"/>
        </a:accent4>
        <a:accent5>
          <a:srgbClr val="CAFFCA"/>
        </a:accent5>
        <a:accent6>
          <a:srgbClr val="B95CE7"/>
        </a:accent6>
        <a:hlink>
          <a:srgbClr val="FF99CC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groß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groß 4">
        <a:dk1>
          <a:srgbClr val="000000"/>
        </a:dk1>
        <a:lt1>
          <a:srgbClr val="FFFFFF"/>
        </a:lt1>
        <a:dk2>
          <a:srgbClr val="CC0099"/>
        </a:dk2>
        <a:lt2>
          <a:srgbClr val="FFCCFF"/>
        </a:lt2>
        <a:accent1>
          <a:srgbClr val="00FF00"/>
        </a:accent1>
        <a:accent2>
          <a:srgbClr val="9933FF"/>
        </a:accent2>
        <a:accent3>
          <a:srgbClr val="E2AACA"/>
        </a:accent3>
        <a:accent4>
          <a:srgbClr val="DADADA"/>
        </a:accent4>
        <a:accent5>
          <a:srgbClr val="AAFFAA"/>
        </a:accent5>
        <a:accent6>
          <a:srgbClr val="8A2DE7"/>
        </a:accent6>
        <a:hlink>
          <a:srgbClr val="660066"/>
        </a:hlink>
        <a:folHlink>
          <a:srgbClr val="00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groß 5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777777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04</Words>
  <Application>Microsoft Office PowerPoint</Application>
  <PresentationFormat>Benutzerdefiniert</PresentationFormat>
  <Paragraphs>187</Paragraphs>
  <Slides>12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5" baseType="lpstr">
      <vt:lpstr>Arial</vt:lpstr>
      <vt:lpstr>UF_Master</vt:lpstr>
      <vt:lpstr>think-cell Folie</vt:lpstr>
      <vt:lpstr>Slide template for distribution to students</vt:lpstr>
      <vt:lpstr>I am the “Action Title,” and I am written in type size 24 pt. bold, line spacing “exact” 24 pt.</vt:lpstr>
      <vt:lpstr>These are the colors we use</vt:lpstr>
      <vt:lpstr>These are our logos</vt:lpstr>
      <vt:lpstr>I am the “action title” and paraphrase this slide’s core message</vt:lpstr>
      <vt:lpstr>Action titles are important</vt:lpstr>
      <vt:lpstr>Action titles are important</vt:lpstr>
      <vt:lpstr>Action titles are important</vt:lpstr>
      <vt:lpstr>Action titles are important</vt:lpstr>
      <vt:lpstr>This is an action title</vt:lpstr>
      <vt:lpstr>Business and corporate strategy are core elements of strategic management</vt:lpstr>
      <vt:lpstr>The concept of parenting advantage provides the guideline for corporate strategy</vt:lpstr>
    </vt:vector>
  </TitlesOfParts>
  <Company>TU Dortmund 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 Vorlage für Studierende</dc:title>
  <dc:subject>PowerPoint-Präsentation Vorlage</dc:subject>
  <dc:creator>Angela</dc:creator>
  <cp:keywords>PowerPoint-Präsentation Vorlage</cp:keywords>
  <cp:lastModifiedBy>Petrovic, Boban</cp:lastModifiedBy>
  <cp:revision>3624</cp:revision>
  <cp:lastPrinted>2019-05-02T10:34:00Z</cp:lastPrinted>
  <dcterms:modified xsi:type="dcterms:W3CDTF">2025-09-25T13:08:46Z</dcterms:modified>
  <cp:category>PowerPoint-Präsentation Vorlage</cp:category>
  <cp:contentStatus/>
</cp:coreProperties>
</file>